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 id="2147483878" r:id="rId7"/>
  </p:sldMasterIdLst>
  <p:notesMasterIdLst>
    <p:notesMasterId r:id="rId23"/>
  </p:notesMasterIdLst>
  <p:handoutMasterIdLst>
    <p:handoutMasterId r:id="rId24"/>
  </p:handoutMasterIdLst>
  <p:sldIdLst>
    <p:sldId id="256" r:id="rId8"/>
    <p:sldId id="300" r:id="rId9"/>
    <p:sldId id="303" r:id="rId10"/>
    <p:sldId id="304" r:id="rId11"/>
    <p:sldId id="351" r:id="rId12"/>
    <p:sldId id="274" r:id="rId13"/>
    <p:sldId id="302" r:id="rId14"/>
    <p:sldId id="308" r:id="rId15"/>
    <p:sldId id="264" r:id="rId16"/>
    <p:sldId id="295" r:id="rId17"/>
    <p:sldId id="296" r:id="rId18"/>
    <p:sldId id="306" r:id="rId19"/>
    <p:sldId id="299" r:id="rId20"/>
    <p:sldId id="298" r:id="rId21"/>
    <p:sldId id="267" r:id="rId22"/>
  </p:sldIdLst>
  <p:sldSz cx="12192000" cy="6858000"/>
  <p:notesSz cx="6858000" cy="9144000"/>
  <p:custDataLst>
    <p:tags r:id="rId2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D5ED"/>
    <a:srgbClr val="C7FF17"/>
    <a:srgbClr val="0F999C"/>
    <a:srgbClr val="80B8D6"/>
    <a:srgbClr val="6D64CC"/>
    <a:srgbClr val="CC2980"/>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E80352-2427-413C-A96B-B5680A74A93F}" v="847" dt="2020-02-14T08:00:44.3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43" autoAdjust="0"/>
    <p:restoredTop sz="68342" autoAdjust="0"/>
  </p:normalViewPr>
  <p:slideViewPr>
    <p:cSldViewPr>
      <p:cViewPr varScale="1">
        <p:scale>
          <a:sx n="58" d="100"/>
          <a:sy n="58" d="100"/>
        </p:scale>
        <p:origin x="518" y="6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CHEZ, Ana Belen" userId="edb0bad4-5524-496f-a7b2-a7b260c9d378" providerId="ADAL" clId="{46E80352-2427-413C-A96B-B5680A74A93F}"/>
    <pc:docChg chg="undo redo custSel addSld delSld modSld sldOrd delMainMaster">
      <pc:chgData name="SANCHEZ, Ana Belen" userId="edb0bad4-5524-496f-a7b2-a7b260c9d378" providerId="ADAL" clId="{46E80352-2427-413C-A96B-B5680A74A93F}" dt="2020-02-14T08:01:07.521" v="5067" actId="478"/>
      <pc:docMkLst>
        <pc:docMk/>
      </pc:docMkLst>
      <pc:sldChg chg="modSp">
        <pc:chgData name="SANCHEZ, Ana Belen" userId="edb0bad4-5524-496f-a7b2-a7b260c9d378" providerId="ADAL" clId="{46E80352-2427-413C-A96B-B5680A74A93F}" dt="2020-02-14T07:20:52.664" v="5063" actId="113"/>
        <pc:sldMkLst>
          <pc:docMk/>
          <pc:sldMk cId="0" sldId="256"/>
        </pc:sldMkLst>
        <pc:spChg chg="mod">
          <ac:chgData name="SANCHEZ, Ana Belen" userId="edb0bad4-5524-496f-a7b2-a7b260c9d378" providerId="ADAL" clId="{46E80352-2427-413C-A96B-B5680A74A93F}" dt="2020-02-14T07:20:52.664" v="5063" actId="113"/>
          <ac:spMkLst>
            <pc:docMk/>
            <pc:sldMk cId="0" sldId="256"/>
            <ac:spMk id="2" creationId="{00000000-0000-0000-0000-000000000000}"/>
          </ac:spMkLst>
        </pc:spChg>
      </pc:sldChg>
      <pc:sldChg chg="del">
        <pc:chgData name="SANCHEZ, Ana Belen" userId="edb0bad4-5524-496f-a7b2-a7b260c9d378" providerId="ADAL" clId="{46E80352-2427-413C-A96B-B5680A74A93F}" dt="2020-02-13T09:03:07.109" v="1164" actId="2696"/>
        <pc:sldMkLst>
          <pc:docMk/>
          <pc:sldMk cId="0" sldId="258"/>
        </pc:sldMkLst>
      </pc:sldChg>
      <pc:sldChg chg="del">
        <pc:chgData name="SANCHEZ, Ana Belen" userId="edb0bad4-5524-496f-a7b2-a7b260c9d378" providerId="ADAL" clId="{46E80352-2427-413C-A96B-B5680A74A93F}" dt="2020-02-13T09:03:07.804" v="1165" actId="2696"/>
        <pc:sldMkLst>
          <pc:docMk/>
          <pc:sldMk cId="0" sldId="259"/>
        </pc:sldMkLst>
      </pc:sldChg>
      <pc:sldChg chg="modTransition">
        <pc:chgData name="SANCHEZ, Ana Belen" userId="edb0bad4-5524-496f-a7b2-a7b260c9d378" providerId="ADAL" clId="{46E80352-2427-413C-A96B-B5680A74A93F}" dt="2020-02-13T23:48:30.873" v="4854"/>
        <pc:sldMkLst>
          <pc:docMk/>
          <pc:sldMk cId="0" sldId="264"/>
        </pc:sldMkLst>
      </pc:sldChg>
      <pc:sldChg chg="del">
        <pc:chgData name="SANCHEZ, Ana Belen" userId="edb0bad4-5524-496f-a7b2-a7b260c9d378" providerId="ADAL" clId="{46E80352-2427-413C-A96B-B5680A74A93F}" dt="2020-02-13T23:48:05.469" v="4827" actId="2696"/>
        <pc:sldMkLst>
          <pc:docMk/>
          <pc:sldMk cId="0" sldId="265"/>
        </pc:sldMkLst>
      </pc:sldChg>
      <pc:sldChg chg="modTransition">
        <pc:chgData name="SANCHEZ, Ana Belen" userId="edb0bad4-5524-496f-a7b2-a7b260c9d378" providerId="ADAL" clId="{46E80352-2427-413C-A96B-B5680A74A93F}" dt="2020-02-13T23:48:44.706" v="4856"/>
        <pc:sldMkLst>
          <pc:docMk/>
          <pc:sldMk cId="0" sldId="267"/>
        </pc:sldMkLst>
      </pc:sldChg>
      <pc:sldChg chg="del">
        <pc:chgData name="SANCHEZ, Ana Belen" userId="edb0bad4-5524-496f-a7b2-a7b260c9d378" providerId="ADAL" clId="{46E80352-2427-413C-A96B-B5680A74A93F}" dt="2020-02-13T23:48:22.768" v="4839" actId="2696"/>
        <pc:sldMkLst>
          <pc:docMk/>
          <pc:sldMk cId="0" sldId="268"/>
        </pc:sldMkLst>
      </pc:sldChg>
      <pc:sldChg chg="addSp modSp del">
        <pc:chgData name="SANCHEZ, Ana Belen" userId="edb0bad4-5524-496f-a7b2-a7b260c9d378" providerId="ADAL" clId="{46E80352-2427-413C-A96B-B5680A74A93F}" dt="2020-02-13T23:48:22.779" v="4840" actId="2696"/>
        <pc:sldMkLst>
          <pc:docMk/>
          <pc:sldMk cId="0" sldId="269"/>
        </pc:sldMkLst>
        <pc:spChg chg="add mod">
          <ac:chgData name="SANCHEZ, Ana Belen" userId="edb0bad4-5524-496f-a7b2-a7b260c9d378" providerId="ADAL" clId="{46E80352-2427-413C-A96B-B5680A74A93F}" dt="2020-02-13T12:48:14.510" v="1857" actId="1076"/>
          <ac:spMkLst>
            <pc:docMk/>
            <pc:sldMk cId="0" sldId="269"/>
            <ac:spMk id="2" creationId="{1880ED7A-CDDD-4541-892A-AC18282AFE7E}"/>
          </ac:spMkLst>
        </pc:spChg>
        <pc:spChg chg="add mod">
          <ac:chgData name="SANCHEZ, Ana Belen" userId="edb0bad4-5524-496f-a7b2-a7b260c9d378" providerId="ADAL" clId="{46E80352-2427-413C-A96B-B5680A74A93F}" dt="2020-02-13T12:49:55.442" v="1861" actId="1076"/>
          <ac:spMkLst>
            <pc:docMk/>
            <pc:sldMk cId="0" sldId="269"/>
            <ac:spMk id="3" creationId="{EFF4734B-925A-429A-AA7F-390FCD068DF1}"/>
          </ac:spMkLst>
        </pc:spChg>
      </pc:sldChg>
      <pc:sldChg chg="del">
        <pc:chgData name="SANCHEZ, Ana Belen" userId="edb0bad4-5524-496f-a7b2-a7b260c9d378" providerId="ADAL" clId="{46E80352-2427-413C-A96B-B5680A74A93F}" dt="2020-02-13T23:48:22.789" v="4841" actId="2696"/>
        <pc:sldMkLst>
          <pc:docMk/>
          <pc:sldMk cId="0" sldId="270"/>
        </pc:sldMkLst>
      </pc:sldChg>
      <pc:sldChg chg="del">
        <pc:chgData name="SANCHEZ, Ana Belen" userId="edb0bad4-5524-496f-a7b2-a7b260c9d378" providerId="ADAL" clId="{46E80352-2427-413C-A96B-B5680A74A93F}" dt="2020-02-13T23:48:22.798" v="4842" actId="2696"/>
        <pc:sldMkLst>
          <pc:docMk/>
          <pc:sldMk cId="0" sldId="271"/>
        </pc:sldMkLst>
      </pc:sldChg>
      <pc:sldChg chg="del">
        <pc:chgData name="SANCHEZ, Ana Belen" userId="edb0bad4-5524-496f-a7b2-a7b260c9d378" providerId="ADAL" clId="{46E80352-2427-413C-A96B-B5680A74A93F}" dt="2020-02-13T23:48:23.455" v="4853" actId="2696"/>
        <pc:sldMkLst>
          <pc:docMk/>
          <pc:sldMk cId="0" sldId="273"/>
        </pc:sldMkLst>
      </pc:sldChg>
      <pc:sldChg chg="ord">
        <pc:chgData name="SANCHEZ, Ana Belen" userId="edb0bad4-5524-496f-a7b2-a7b260c9d378" providerId="ADAL" clId="{46E80352-2427-413C-A96B-B5680A74A93F}" dt="2020-02-14T00:05:51.285" v="5006"/>
        <pc:sldMkLst>
          <pc:docMk/>
          <pc:sldMk cId="0" sldId="274"/>
        </pc:sldMkLst>
      </pc:sldChg>
      <pc:sldChg chg="del">
        <pc:chgData name="SANCHEZ, Ana Belen" userId="edb0bad4-5524-496f-a7b2-a7b260c9d378" providerId="ADAL" clId="{46E80352-2427-413C-A96B-B5680A74A93F}" dt="2020-02-13T23:48:10.789" v="4830" actId="2696"/>
        <pc:sldMkLst>
          <pc:docMk/>
          <pc:sldMk cId="0" sldId="276"/>
        </pc:sldMkLst>
      </pc:sldChg>
      <pc:sldChg chg="del">
        <pc:chgData name="SANCHEZ, Ana Belen" userId="edb0bad4-5524-496f-a7b2-a7b260c9d378" providerId="ADAL" clId="{46E80352-2427-413C-A96B-B5680A74A93F}" dt="2020-02-13T23:48:10.764" v="4829" actId="2696"/>
        <pc:sldMkLst>
          <pc:docMk/>
          <pc:sldMk cId="0" sldId="277"/>
        </pc:sldMkLst>
      </pc:sldChg>
      <pc:sldChg chg="modSp del">
        <pc:chgData name="SANCHEZ, Ana Belen" userId="edb0bad4-5524-496f-a7b2-a7b260c9d378" providerId="ADAL" clId="{46E80352-2427-413C-A96B-B5680A74A93F}" dt="2020-02-13T23:48:23.276" v="4849" actId="2696"/>
        <pc:sldMkLst>
          <pc:docMk/>
          <pc:sldMk cId="0" sldId="278"/>
        </pc:sldMkLst>
        <pc:spChg chg="mod">
          <ac:chgData name="SANCHEZ, Ana Belen" userId="edb0bad4-5524-496f-a7b2-a7b260c9d378" providerId="ADAL" clId="{46E80352-2427-413C-A96B-B5680A74A93F}" dt="2020-02-12T13:07:58.115" v="10" actId="20577"/>
          <ac:spMkLst>
            <pc:docMk/>
            <pc:sldMk cId="0" sldId="278"/>
            <ac:spMk id="834" creationId="{4C55F3E8-5432-436E-9DC8-30E6A0067524}"/>
          </ac:spMkLst>
        </pc:spChg>
      </pc:sldChg>
      <pc:sldChg chg="del">
        <pc:chgData name="SANCHEZ, Ana Belen" userId="edb0bad4-5524-496f-a7b2-a7b260c9d378" providerId="ADAL" clId="{46E80352-2427-413C-A96B-B5680A74A93F}" dt="2020-02-13T23:48:22.454" v="4831" actId="2696"/>
        <pc:sldMkLst>
          <pc:docMk/>
          <pc:sldMk cId="0" sldId="279"/>
        </pc:sldMkLst>
      </pc:sldChg>
      <pc:sldChg chg="del">
        <pc:chgData name="SANCHEZ, Ana Belen" userId="edb0bad4-5524-496f-a7b2-a7b260c9d378" providerId="ADAL" clId="{46E80352-2427-413C-A96B-B5680A74A93F}" dt="2020-02-13T23:48:22.479" v="4832" actId="2696"/>
        <pc:sldMkLst>
          <pc:docMk/>
          <pc:sldMk cId="0" sldId="280"/>
        </pc:sldMkLst>
      </pc:sldChg>
      <pc:sldChg chg="modSp del">
        <pc:chgData name="SANCHEZ, Ana Belen" userId="edb0bad4-5524-496f-a7b2-a7b260c9d378" providerId="ADAL" clId="{46E80352-2427-413C-A96B-B5680A74A93F}" dt="2020-02-13T23:48:22.550" v="4833" actId="2696"/>
        <pc:sldMkLst>
          <pc:docMk/>
          <pc:sldMk cId="0" sldId="281"/>
        </pc:sldMkLst>
        <pc:spChg chg="mod">
          <ac:chgData name="SANCHEZ, Ana Belen" userId="edb0bad4-5524-496f-a7b2-a7b260c9d378" providerId="ADAL" clId="{46E80352-2427-413C-A96B-B5680A74A93F}" dt="2020-02-13T23:06:11.574" v="4421"/>
          <ac:spMkLst>
            <pc:docMk/>
            <pc:sldMk cId="0" sldId="281"/>
            <ac:spMk id="11" creationId="{557EF29E-436E-47EB-A7F4-1C832F619E1C}"/>
          </ac:spMkLst>
        </pc:spChg>
        <pc:spChg chg="mod">
          <ac:chgData name="SANCHEZ, Ana Belen" userId="edb0bad4-5524-496f-a7b2-a7b260c9d378" providerId="ADAL" clId="{46E80352-2427-413C-A96B-B5680A74A93F}" dt="2020-02-13T23:10:05.285" v="4455" actId="14100"/>
          <ac:spMkLst>
            <pc:docMk/>
            <pc:sldMk cId="0" sldId="281"/>
            <ac:spMk id="13" creationId="{605C23A9-CD9A-4AAB-8432-58B81B91F93C}"/>
          </ac:spMkLst>
        </pc:spChg>
        <pc:graphicFrameChg chg="modGraphic">
          <ac:chgData name="SANCHEZ, Ana Belen" userId="edb0bad4-5524-496f-a7b2-a7b260c9d378" providerId="ADAL" clId="{46E80352-2427-413C-A96B-B5680A74A93F}" dt="2020-02-13T23:07:50.307" v="4440" actId="6549"/>
          <ac:graphicFrameMkLst>
            <pc:docMk/>
            <pc:sldMk cId="0" sldId="281"/>
            <ac:graphicFrameMk id="9" creationId="{EB046D6D-7152-4985-8D8C-F9BF93B773A5}"/>
          </ac:graphicFrameMkLst>
        </pc:graphicFrameChg>
      </pc:sldChg>
      <pc:sldChg chg="del">
        <pc:chgData name="SANCHEZ, Ana Belen" userId="edb0bad4-5524-496f-a7b2-a7b260c9d378" providerId="ADAL" clId="{46E80352-2427-413C-A96B-B5680A74A93F}" dt="2020-02-13T23:48:22.594" v="4834" actId="2696"/>
        <pc:sldMkLst>
          <pc:docMk/>
          <pc:sldMk cId="0" sldId="282"/>
        </pc:sldMkLst>
      </pc:sldChg>
      <pc:sldChg chg="del">
        <pc:chgData name="SANCHEZ, Ana Belen" userId="edb0bad4-5524-496f-a7b2-a7b260c9d378" providerId="ADAL" clId="{46E80352-2427-413C-A96B-B5680A74A93F}" dt="2020-02-13T23:48:22.626" v="4835" actId="2696"/>
        <pc:sldMkLst>
          <pc:docMk/>
          <pc:sldMk cId="0" sldId="283"/>
        </pc:sldMkLst>
      </pc:sldChg>
      <pc:sldChg chg="del">
        <pc:chgData name="SANCHEZ, Ana Belen" userId="edb0bad4-5524-496f-a7b2-a7b260c9d378" providerId="ADAL" clId="{46E80352-2427-413C-A96B-B5680A74A93F}" dt="2020-02-13T23:48:22.686" v="4836" actId="2696"/>
        <pc:sldMkLst>
          <pc:docMk/>
          <pc:sldMk cId="0" sldId="284"/>
        </pc:sldMkLst>
      </pc:sldChg>
      <pc:sldChg chg="del">
        <pc:chgData name="SANCHEZ, Ana Belen" userId="edb0bad4-5524-496f-a7b2-a7b260c9d378" providerId="ADAL" clId="{46E80352-2427-413C-A96B-B5680A74A93F}" dt="2020-02-13T23:48:22.709" v="4837" actId="2696"/>
        <pc:sldMkLst>
          <pc:docMk/>
          <pc:sldMk cId="0" sldId="285"/>
        </pc:sldMkLst>
      </pc:sldChg>
      <pc:sldChg chg="del">
        <pc:chgData name="SANCHEZ, Ana Belen" userId="edb0bad4-5524-496f-a7b2-a7b260c9d378" providerId="ADAL" clId="{46E80352-2427-413C-A96B-B5680A74A93F}" dt="2020-02-13T23:48:22.727" v="4838" actId="2696"/>
        <pc:sldMkLst>
          <pc:docMk/>
          <pc:sldMk cId="0" sldId="286"/>
        </pc:sldMkLst>
      </pc:sldChg>
      <pc:sldChg chg="del">
        <pc:chgData name="SANCHEZ, Ana Belen" userId="edb0bad4-5524-496f-a7b2-a7b260c9d378" providerId="ADAL" clId="{46E80352-2427-413C-A96B-B5680A74A93F}" dt="2020-02-13T23:48:23.297" v="4850" actId="2696"/>
        <pc:sldMkLst>
          <pc:docMk/>
          <pc:sldMk cId="0" sldId="288"/>
        </pc:sldMkLst>
      </pc:sldChg>
      <pc:sldChg chg="addSp delSp del">
        <pc:chgData name="SANCHEZ, Ana Belen" userId="edb0bad4-5524-496f-a7b2-a7b260c9d378" providerId="ADAL" clId="{46E80352-2427-413C-A96B-B5680A74A93F}" dt="2020-02-13T23:48:23.427" v="4852" actId="2696"/>
        <pc:sldMkLst>
          <pc:docMk/>
          <pc:sldMk cId="0" sldId="289"/>
        </pc:sldMkLst>
        <pc:spChg chg="add del">
          <ac:chgData name="SANCHEZ, Ana Belen" userId="edb0bad4-5524-496f-a7b2-a7b260c9d378" providerId="ADAL" clId="{46E80352-2427-413C-A96B-B5680A74A93F}" dt="2020-02-12T13:07:12.294" v="2"/>
          <ac:spMkLst>
            <pc:docMk/>
            <pc:sldMk cId="0" sldId="289"/>
            <ac:spMk id="4" creationId="{704A5916-FAB5-47B8-ADED-506C29D2DF88}"/>
          </ac:spMkLst>
        </pc:spChg>
      </pc:sldChg>
      <pc:sldChg chg="del">
        <pc:chgData name="SANCHEZ, Ana Belen" userId="edb0bad4-5524-496f-a7b2-a7b260c9d378" providerId="ADAL" clId="{46E80352-2427-413C-A96B-B5680A74A93F}" dt="2020-02-13T23:48:10.720" v="4828" actId="2696"/>
        <pc:sldMkLst>
          <pc:docMk/>
          <pc:sldMk cId="0" sldId="290"/>
        </pc:sldMkLst>
      </pc:sldChg>
      <pc:sldChg chg="del">
        <pc:chgData name="SANCHEZ, Ana Belen" userId="edb0bad4-5524-496f-a7b2-a7b260c9d378" providerId="ADAL" clId="{46E80352-2427-413C-A96B-B5680A74A93F}" dt="2020-02-13T09:03:08.190" v="1166" actId="2696"/>
        <pc:sldMkLst>
          <pc:docMk/>
          <pc:sldMk cId="1445110691" sldId="291"/>
        </pc:sldMkLst>
      </pc:sldChg>
      <pc:sldChg chg="del">
        <pc:chgData name="SANCHEZ, Ana Belen" userId="edb0bad4-5524-496f-a7b2-a7b260c9d378" providerId="ADAL" clId="{46E80352-2427-413C-A96B-B5680A74A93F}" dt="2020-02-13T23:48:23.416" v="4851" actId="2696"/>
        <pc:sldMkLst>
          <pc:docMk/>
          <pc:sldMk cId="3986561876" sldId="293"/>
        </pc:sldMkLst>
      </pc:sldChg>
      <pc:sldChg chg="del">
        <pc:chgData name="SANCHEZ, Ana Belen" userId="edb0bad4-5524-496f-a7b2-a7b260c9d378" providerId="ADAL" clId="{46E80352-2427-413C-A96B-B5680A74A93F}" dt="2020-02-13T23:48:22.964" v="4848" actId="2696"/>
        <pc:sldMkLst>
          <pc:docMk/>
          <pc:sldMk cId="3274340437" sldId="294"/>
        </pc:sldMkLst>
      </pc:sldChg>
      <pc:sldChg chg="modTransition">
        <pc:chgData name="SANCHEZ, Ana Belen" userId="edb0bad4-5524-496f-a7b2-a7b260c9d378" providerId="ADAL" clId="{46E80352-2427-413C-A96B-B5680A74A93F}" dt="2020-02-13T23:48:30.873" v="4854"/>
        <pc:sldMkLst>
          <pc:docMk/>
          <pc:sldMk cId="1911492172" sldId="295"/>
        </pc:sldMkLst>
      </pc:sldChg>
      <pc:sldChg chg="addSp delSp modSp ord modTransition">
        <pc:chgData name="SANCHEZ, Ana Belen" userId="edb0bad4-5524-496f-a7b2-a7b260c9d378" providerId="ADAL" clId="{46E80352-2427-413C-A96B-B5680A74A93F}" dt="2020-02-13T23:47:41.657" v="4821"/>
        <pc:sldMkLst>
          <pc:docMk/>
          <pc:sldMk cId="3945145866" sldId="296"/>
        </pc:sldMkLst>
        <pc:picChg chg="add mod">
          <ac:chgData name="SANCHEZ, Ana Belen" userId="edb0bad4-5524-496f-a7b2-a7b260c9d378" providerId="ADAL" clId="{46E80352-2427-413C-A96B-B5680A74A93F}" dt="2020-02-13T08:29:07.473" v="553" actId="14100"/>
          <ac:picMkLst>
            <pc:docMk/>
            <pc:sldMk cId="3945145866" sldId="296"/>
            <ac:picMk id="5" creationId="{A82A2593-4027-4459-B774-D2AB23BDDFAF}"/>
          </ac:picMkLst>
        </pc:picChg>
        <pc:picChg chg="mod">
          <ac:chgData name="SANCHEZ, Ana Belen" userId="edb0bad4-5524-496f-a7b2-a7b260c9d378" providerId="ADAL" clId="{46E80352-2427-413C-A96B-B5680A74A93F}" dt="2020-02-12T15:42:03.970" v="452" actId="1076"/>
          <ac:picMkLst>
            <pc:docMk/>
            <pc:sldMk cId="3945145866" sldId="296"/>
            <ac:picMk id="6" creationId="{DB5EEAED-48DA-48A2-B402-85E0751763D6}"/>
          </ac:picMkLst>
        </pc:picChg>
        <pc:picChg chg="del">
          <ac:chgData name="SANCHEZ, Ana Belen" userId="edb0bad4-5524-496f-a7b2-a7b260c9d378" providerId="ADAL" clId="{46E80352-2427-413C-A96B-B5680A74A93F}" dt="2020-02-13T09:03:56.020" v="1172" actId="478"/>
          <ac:picMkLst>
            <pc:docMk/>
            <pc:sldMk cId="3945145866" sldId="296"/>
            <ac:picMk id="7" creationId="{4211B496-E71E-4E20-96C7-428422C9BDF5}"/>
          </ac:picMkLst>
        </pc:picChg>
        <pc:picChg chg="mod">
          <ac:chgData name="SANCHEZ, Ana Belen" userId="edb0bad4-5524-496f-a7b2-a7b260c9d378" providerId="ADAL" clId="{46E80352-2427-413C-A96B-B5680A74A93F}" dt="2020-02-13T09:59:42.770" v="1392" actId="1076"/>
          <ac:picMkLst>
            <pc:docMk/>
            <pc:sldMk cId="3945145866" sldId="296"/>
            <ac:picMk id="8" creationId="{ACBBD07E-F2B2-413E-AC65-ECA75E024BDF}"/>
          </ac:picMkLst>
        </pc:picChg>
        <pc:picChg chg="del mod">
          <ac:chgData name="SANCHEZ, Ana Belen" userId="edb0bad4-5524-496f-a7b2-a7b260c9d378" providerId="ADAL" clId="{46E80352-2427-413C-A96B-B5680A74A93F}" dt="2020-02-13T16:13:17.698" v="2599"/>
          <ac:picMkLst>
            <pc:docMk/>
            <pc:sldMk cId="3945145866" sldId="296"/>
            <ac:picMk id="9" creationId="{2B639250-147A-462D-A6ED-CB2538D4A578}"/>
          </ac:picMkLst>
        </pc:picChg>
        <pc:picChg chg="del mod">
          <ac:chgData name="SANCHEZ, Ana Belen" userId="edb0bad4-5524-496f-a7b2-a7b260c9d378" providerId="ADAL" clId="{46E80352-2427-413C-A96B-B5680A74A93F}" dt="2020-02-13T16:12:32.494" v="2583"/>
          <ac:picMkLst>
            <pc:docMk/>
            <pc:sldMk cId="3945145866" sldId="296"/>
            <ac:picMk id="10" creationId="{5C56F691-B1A6-4C45-A9B7-82259979CEC0}"/>
          </ac:picMkLst>
        </pc:picChg>
        <pc:picChg chg="add del mod">
          <ac:chgData name="SANCHEZ, Ana Belen" userId="edb0bad4-5524-496f-a7b2-a7b260c9d378" providerId="ADAL" clId="{46E80352-2427-413C-A96B-B5680A74A93F}" dt="2020-02-13T16:12:25.427" v="2580"/>
          <ac:picMkLst>
            <pc:docMk/>
            <pc:sldMk cId="3945145866" sldId="296"/>
            <ac:picMk id="11" creationId="{41DFEABC-6686-4904-ABFC-90FEFC39A384}"/>
          </ac:picMkLst>
        </pc:picChg>
        <pc:picChg chg="add del mod">
          <ac:chgData name="SANCHEZ, Ana Belen" userId="edb0bad4-5524-496f-a7b2-a7b260c9d378" providerId="ADAL" clId="{46E80352-2427-413C-A96B-B5680A74A93F}" dt="2020-02-13T16:12:58.516" v="2591"/>
          <ac:picMkLst>
            <pc:docMk/>
            <pc:sldMk cId="3945145866" sldId="296"/>
            <ac:picMk id="12" creationId="{101B8886-7812-4A51-952E-BA35A935B1DA}"/>
          </ac:picMkLst>
        </pc:picChg>
      </pc:sldChg>
      <pc:sldChg chg="addSp delSp modSp del ord modTransition modAnim modNotesTx">
        <pc:chgData name="SANCHEZ, Ana Belen" userId="edb0bad4-5524-496f-a7b2-a7b260c9d378" providerId="ADAL" clId="{46E80352-2427-413C-A96B-B5680A74A93F}" dt="2020-02-13T23:47:57.063" v="4825" actId="2696"/>
        <pc:sldMkLst>
          <pc:docMk/>
          <pc:sldMk cId="3134657256" sldId="297"/>
        </pc:sldMkLst>
        <pc:spChg chg="add del mod">
          <ac:chgData name="SANCHEZ, Ana Belen" userId="edb0bad4-5524-496f-a7b2-a7b260c9d378" providerId="ADAL" clId="{46E80352-2427-413C-A96B-B5680A74A93F}" dt="2020-02-13T10:57:33.435" v="1533" actId="478"/>
          <ac:spMkLst>
            <pc:docMk/>
            <pc:sldMk cId="3134657256" sldId="297"/>
            <ac:spMk id="4" creationId="{00000000-0000-0000-0000-000000000000}"/>
          </ac:spMkLst>
        </pc:spChg>
        <pc:spChg chg="add mod ord">
          <ac:chgData name="SANCHEZ, Ana Belen" userId="edb0bad4-5524-496f-a7b2-a7b260c9d378" providerId="ADAL" clId="{46E80352-2427-413C-A96B-B5680A74A93F}" dt="2020-02-12T14:25:23.633" v="217" actId="164"/>
          <ac:spMkLst>
            <pc:docMk/>
            <pc:sldMk cId="3134657256" sldId="297"/>
            <ac:spMk id="5" creationId="{6DEA9BCD-19CE-45BE-ACD3-CB0AA67FEE67}"/>
          </ac:spMkLst>
        </pc:spChg>
        <pc:spChg chg="add del mod topLvl">
          <ac:chgData name="SANCHEZ, Ana Belen" userId="edb0bad4-5524-496f-a7b2-a7b260c9d378" providerId="ADAL" clId="{46E80352-2427-413C-A96B-B5680A74A93F}" dt="2020-02-12T14:07:11.758" v="66" actId="478"/>
          <ac:spMkLst>
            <pc:docMk/>
            <pc:sldMk cId="3134657256" sldId="297"/>
            <ac:spMk id="6" creationId="{02919B12-48C6-4B70-B66F-FA978B7E8240}"/>
          </ac:spMkLst>
        </pc:spChg>
        <pc:spChg chg="del">
          <ac:chgData name="SANCHEZ, Ana Belen" userId="edb0bad4-5524-496f-a7b2-a7b260c9d378" providerId="ADAL" clId="{46E80352-2427-413C-A96B-B5680A74A93F}" dt="2020-02-12T13:00:42.737" v="0" actId="478"/>
          <ac:spMkLst>
            <pc:docMk/>
            <pc:sldMk cId="3134657256" sldId="297"/>
            <ac:spMk id="8" creationId="{EA3489C4-81A5-4344-B164-AA7B88439F8C}"/>
          </ac:spMkLst>
        </pc:spChg>
        <pc:spChg chg="add del mod">
          <ac:chgData name="SANCHEZ, Ana Belen" userId="edb0bad4-5524-496f-a7b2-a7b260c9d378" providerId="ADAL" clId="{46E80352-2427-413C-A96B-B5680A74A93F}" dt="2020-02-12T14:12:29.136" v="144" actId="478"/>
          <ac:spMkLst>
            <pc:docMk/>
            <pc:sldMk cId="3134657256" sldId="297"/>
            <ac:spMk id="9" creationId="{C4EB7CFC-6355-4223-830B-495A652C9745}"/>
          </ac:spMkLst>
        </pc:spChg>
        <pc:spChg chg="add mod">
          <ac:chgData name="SANCHEZ, Ana Belen" userId="edb0bad4-5524-496f-a7b2-a7b260c9d378" providerId="ADAL" clId="{46E80352-2427-413C-A96B-B5680A74A93F}" dt="2020-02-12T14:17:35.643" v="188" actId="14100"/>
          <ac:spMkLst>
            <pc:docMk/>
            <pc:sldMk cId="3134657256" sldId="297"/>
            <ac:spMk id="10" creationId="{09F53BB8-EA63-4C86-82E6-59A4D0CECAB9}"/>
          </ac:spMkLst>
        </pc:spChg>
        <pc:spChg chg="add del mod">
          <ac:chgData name="SANCHEZ, Ana Belen" userId="edb0bad4-5524-496f-a7b2-a7b260c9d378" providerId="ADAL" clId="{46E80352-2427-413C-A96B-B5680A74A93F}" dt="2020-02-13T08:21:59.084" v="545" actId="478"/>
          <ac:spMkLst>
            <pc:docMk/>
            <pc:sldMk cId="3134657256" sldId="297"/>
            <ac:spMk id="12" creationId="{34ABCDE2-CC43-40CC-95B7-DB023526D71D}"/>
          </ac:spMkLst>
        </pc:spChg>
        <pc:spChg chg="add mod">
          <ac:chgData name="SANCHEZ, Ana Belen" userId="edb0bad4-5524-496f-a7b2-a7b260c9d378" providerId="ADAL" clId="{46E80352-2427-413C-A96B-B5680A74A93F}" dt="2020-02-12T14:28:15.228" v="223" actId="14100"/>
          <ac:spMkLst>
            <pc:docMk/>
            <pc:sldMk cId="3134657256" sldId="297"/>
            <ac:spMk id="13" creationId="{19789393-2CEF-4B12-A68D-18C163EE31EE}"/>
          </ac:spMkLst>
        </pc:spChg>
        <pc:spChg chg="add mod">
          <ac:chgData name="SANCHEZ, Ana Belen" userId="edb0bad4-5524-496f-a7b2-a7b260c9d378" providerId="ADAL" clId="{46E80352-2427-413C-A96B-B5680A74A93F}" dt="2020-02-12T14:28:24.091" v="225" actId="14100"/>
          <ac:spMkLst>
            <pc:docMk/>
            <pc:sldMk cId="3134657256" sldId="297"/>
            <ac:spMk id="14" creationId="{B401BEE8-3BA3-493F-A721-C6BAB63F24D7}"/>
          </ac:spMkLst>
        </pc:spChg>
        <pc:spChg chg="add del mod">
          <ac:chgData name="SANCHEZ, Ana Belen" userId="edb0bad4-5524-496f-a7b2-a7b260c9d378" providerId="ADAL" clId="{46E80352-2427-413C-A96B-B5680A74A93F}" dt="2020-02-12T14:36:28.615" v="315" actId="478"/>
          <ac:spMkLst>
            <pc:docMk/>
            <pc:sldMk cId="3134657256" sldId="297"/>
            <ac:spMk id="27" creationId="{26E9ED0E-3270-4466-8587-12C05F72D103}"/>
          </ac:spMkLst>
        </pc:spChg>
        <pc:spChg chg="add del mod">
          <ac:chgData name="SANCHEZ, Ana Belen" userId="edb0bad4-5524-496f-a7b2-a7b260c9d378" providerId="ADAL" clId="{46E80352-2427-413C-A96B-B5680A74A93F}" dt="2020-02-12T14:44:36.982" v="355" actId="478"/>
          <ac:spMkLst>
            <pc:docMk/>
            <pc:sldMk cId="3134657256" sldId="297"/>
            <ac:spMk id="32" creationId="{A6C7F5CD-06F3-4E86-A2B4-247036B7F288}"/>
          </ac:spMkLst>
        </pc:spChg>
        <pc:spChg chg="add del mod topLvl">
          <ac:chgData name="SANCHEZ, Ana Belen" userId="edb0bad4-5524-496f-a7b2-a7b260c9d378" providerId="ADAL" clId="{46E80352-2427-413C-A96B-B5680A74A93F}" dt="2020-02-12T15:35:54.799" v="402" actId="478"/>
          <ac:spMkLst>
            <pc:docMk/>
            <pc:sldMk cId="3134657256" sldId="297"/>
            <ac:spMk id="33" creationId="{077BA229-7BAD-43BB-B141-74FD4987ACC7}"/>
          </ac:spMkLst>
        </pc:spChg>
        <pc:spChg chg="add del mod topLvl">
          <ac:chgData name="SANCHEZ, Ana Belen" userId="edb0bad4-5524-496f-a7b2-a7b260c9d378" providerId="ADAL" clId="{46E80352-2427-413C-A96B-B5680A74A93F}" dt="2020-02-12T15:36:06.417" v="407" actId="478"/>
          <ac:spMkLst>
            <pc:docMk/>
            <pc:sldMk cId="3134657256" sldId="297"/>
            <ac:spMk id="34" creationId="{BA436868-F772-4D80-A606-84D2C9C36C00}"/>
          </ac:spMkLst>
        </pc:spChg>
        <pc:spChg chg="add del mod">
          <ac:chgData name="SANCHEZ, Ana Belen" userId="edb0bad4-5524-496f-a7b2-a7b260c9d378" providerId="ADAL" clId="{46E80352-2427-413C-A96B-B5680A74A93F}" dt="2020-02-12T15:53:32.075" v="505" actId="164"/>
          <ac:spMkLst>
            <pc:docMk/>
            <pc:sldMk cId="3134657256" sldId="297"/>
            <ac:spMk id="45" creationId="{C6FB82DA-A52A-4D01-81B2-9331D777C00F}"/>
          </ac:spMkLst>
        </pc:spChg>
        <pc:spChg chg="add del mod">
          <ac:chgData name="SANCHEZ, Ana Belen" userId="edb0bad4-5524-496f-a7b2-a7b260c9d378" providerId="ADAL" clId="{46E80352-2427-413C-A96B-B5680A74A93F}" dt="2020-02-12T15:53:36.890" v="506" actId="164"/>
          <ac:spMkLst>
            <pc:docMk/>
            <pc:sldMk cId="3134657256" sldId="297"/>
            <ac:spMk id="46" creationId="{84A896A8-4775-4083-B9E3-FCE434E9B66F}"/>
          </ac:spMkLst>
        </pc:spChg>
        <pc:spChg chg="add del mod">
          <ac:chgData name="SANCHEZ, Ana Belen" userId="edb0bad4-5524-496f-a7b2-a7b260c9d378" providerId="ADAL" clId="{46E80352-2427-413C-A96B-B5680A74A93F}" dt="2020-02-12T15:53:41.488" v="507" actId="164"/>
          <ac:spMkLst>
            <pc:docMk/>
            <pc:sldMk cId="3134657256" sldId="297"/>
            <ac:spMk id="47" creationId="{120DDAB9-B793-43E6-A00D-10F180F31534}"/>
          </ac:spMkLst>
        </pc:spChg>
        <pc:spChg chg="add del mod">
          <ac:chgData name="SANCHEZ, Ana Belen" userId="edb0bad4-5524-496f-a7b2-a7b260c9d378" providerId="ADAL" clId="{46E80352-2427-413C-A96B-B5680A74A93F}" dt="2020-02-12T15:40:45.529" v="441" actId="478"/>
          <ac:spMkLst>
            <pc:docMk/>
            <pc:sldMk cId="3134657256" sldId="297"/>
            <ac:spMk id="48" creationId="{9D4A4E1B-FA42-4C01-96A0-985AA68E1211}"/>
          </ac:spMkLst>
        </pc:spChg>
        <pc:spChg chg="add mod">
          <ac:chgData name="SANCHEZ, Ana Belen" userId="edb0bad4-5524-496f-a7b2-a7b260c9d378" providerId="ADAL" clId="{46E80352-2427-413C-A96B-B5680A74A93F}" dt="2020-02-12T15:54:17.273" v="516" actId="164"/>
          <ac:spMkLst>
            <pc:docMk/>
            <pc:sldMk cId="3134657256" sldId="297"/>
            <ac:spMk id="49" creationId="{41426C00-ABB1-4651-B59C-F635D4375937}"/>
          </ac:spMkLst>
        </pc:spChg>
        <pc:spChg chg="add mod">
          <ac:chgData name="SANCHEZ, Ana Belen" userId="edb0bad4-5524-496f-a7b2-a7b260c9d378" providerId="ADAL" clId="{46E80352-2427-413C-A96B-B5680A74A93F}" dt="2020-02-12T15:53:32.075" v="505" actId="164"/>
          <ac:spMkLst>
            <pc:docMk/>
            <pc:sldMk cId="3134657256" sldId="297"/>
            <ac:spMk id="50" creationId="{981933DE-550E-4D1A-96CA-091BCD0547DF}"/>
          </ac:spMkLst>
        </pc:spChg>
        <pc:spChg chg="add mod">
          <ac:chgData name="SANCHEZ, Ana Belen" userId="edb0bad4-5524-496f-a7b2-a7b260c9d378" providerId="ADAL" clId="{46E80352-2427-413C-A96B-B5680A74A93F}" dt="2020-02-12T15:53:36.890" v="506" actId="164"/>
          <ac:spMkLst>
            <pc:docMk/>
            <pc:sldMk cId="3134657256" sldId="297"/>
            <ac:spMk id="51" creationId="{B9E4FD9B-3CB7-4066-96DF-B5066493204C}"/>
          </ac:spMkLst>
        </pc:spChg>
        <pc:spChg chg="add mod">
          <ac:chgData name="SANCHEZ, Ana Belen" userId="edb0bad4-5524-496f-a7b2-a7b260c9d378" providerId="ADAL" clId="{46E80352-2427-413C-A96B-B5680A74A93F}" dt="2020-02-12T15:54:17.273" v="516" actId="164"/>
          <ac:spMkLst>
            <pc:docMk/>
            <pc:sldMk cId="3134657256" sldId="297"/>
            <ac:spMk id="52" creationId="{3ED1CB53-31EC-40EC-BB91-63DE0F618FEF}"/>
          </ac:spMkLst>
        </pc:spChg>
        <pc:spChg chg="add mod">
          <ac:chgData name="SANCHEZ, Ana Belen" userId="edb0bad4-5524-496f-a7b2-a7b260c9d378" providerId="ADAL" clId="{46E80352-2427-413C-A96B-B5680A74A93F}" dt="2020-02-12T15:53:41.488" v="507" actId="164"/>
          <ac:spMkLst>
            <pc:docMk/>
            <pc:sldMk cId="3134657256" sldId="297"/>
            <ac:spMk id="53" creationId="{B00893E3-4515-482D-B3C7-9B578A50D707}"/>
          </ac:spMkLst>
        </pc:spChg>
        <pc:spChg chg="add mod">
          <ac:chgData name="SANCHEZ, Ana Belen" userId="edb0bad4-5524-496f-a7b2-a7b260c9d378" providerId="ADAL" clId="{46E80352-2427-413C-A96B-B5680A74A93F}" dt="2020-02-13T10:14:02.871" v="1403" actId="1076"/>
          <ac:spMkLst>
            <pc:docMk/>
            <pc:sldMk cId="3134657256" sldId="297"/>
            <ac:spMk id="64" creationId="{D773A95D-A561-4B41-8893-93D787F9DCBC}"/>
          </ac:spMkLst>
        </pc:spChg>
        <pc:spChg chg="add mod">
          <ac:chgData name="SANCHEZ, Ana Belen" userId="edb0bad4-5524-496f-a7b2-a7b260c9d378" providerId="ADAL" clId="{46E80352-2427-413C-A96B-B5680A74A93F}" dt="2020-02-13T10:14:07.230" v="1404" actId="1076"/>
          <ac:spMkLst>
            <pc:docMk/>
            <pc:sldMk cId="3134657256" sldId="297"/>
            <ac:spMk id="65" creationId="{7382A28B-4671-4218-AAD1-DF3C43986452}"/>
          </ac:spMkLst>
        </pc:spChg>
        <pc:spChg chg="mod">
          <ac:chgData name="SANCHEZ, Ana Belen" userId="edb0bad4-5524-496f-a7b2-a7b260c9d378" providerId="ADAL" clId="{46E80352-2427-413C-A96B-B5680A74A93F}" dt="2020-02-13T10:55:06.669" v="1496" actId="207"/>
          <ac:spMkLst>
            <pc:docMk/>
            <pc:sldMk cId="3134657256" sldId="297"/>
            <ac:spMk id="70" creationId="{6B63AD77-4E11-4C4D-90BF-1E38EB63D579}"/>
          </ac:spMkLst>
        </pc:spChg>
        <pc:spChg chg="mod">
          <ac:chgData name="SANCHEZ, Ana Belen" userId="edb0bad4-5524-496f-a7b2-a7b260c9d378" providerId="ADAL" clId="{46E80352-2427-413C-A96B-B5680A74A93F}" dt="2020-02-13T10:55:14.565" v="1497" actId="207"/>
          <ac:spMkLst>
            <pc:docMk/>
            <pc:sldMk cId="3134657256" sldId="297"/>
            <ac:spMk id="71" creationId="{C6E5F5EE-C662-4569-9C73-887DFA9084F2}"/>
          </ac:spMkLst>
        </pc:spChg>
        <pc:spChg chg="mod">
          <ac:chgData name="SANCHEZ, Ana Belen" userId="edb0bad4-5524-496f-a7b2-a7b260c9d378" providerId="ADAL" clId="{46E80352-2427-413C-A96B-B5680A74A93F}" dt="2020-02-13T10:55:23.266" v="1498" actId="207"/>
          <ac:spMkLst>
            <pc:docMk/>
            <pc:sldMk cId="3134657256" sldId="297"/>
            <ac:spMk id="72" creationId="{10ADC7BA-7B5E-4AFD-B0E7-5C4673B9DEC2}"/>
          </ac:spMkLst>
        </pc:spChg>
        <pc:spChg chg="mod">
          <ac:chgData name="SANCHEZ, Ana Belen" userId="edb0bad4-5524-496f-a7b2-a7b260c9d378" providerId="ADAL" clId="{46E80352-2427-413C-A96B-B5680A74A93F}" dt="2020-02-13T10:55:32.658" v="1499" actId="207"/>
          <ac:spMkLst>
            <pc:docMk/>
            <pc:sldMk cId="3134657256" sldId="297"/>
            <ac:spMk id="74" creationId="{7984E0C4-1015-4444-9612-E9013FE65B8A}"/>
          </ac:spMkLst>
        </pc:spChg>
        <pc:spChg chg="mod">
          <ac:chgData name="SANCHEZ, Ana Belen" userId="edb0bad4-5524-496f-a7b2-a7b260c9d378" providerId="ADAL" clId="{46E80352-2427-413C-A96B-B5680A74A93F}" dt="2020-02-13T10:55:38.452" v="1500" actId="207"/>
          <ac:spMkLst>
            <pc:docMk/>
            <pc:sldMk cId="3134657256" sldId="297"/>
            <ac:spMk id="75" creationId="{98239B62-49D4-43F7-941A-55BCEA129781}"/>
          </ac:spMkLst>
        </pc:spChg>
        <pc:spChg chg="add mod">
          <ac:chgData name="SANCHEZ, Ana Belen" userId="edb0bad4-5524-496f-a7b2-a7b260c9d378" providerId="ADAL" clId="{46E80352-2427-413C-A96B-B5680A74A93F}" dt="2020-02-13T10:57:00.535" v="1529" actId="1076"/>
          <ac:spMkLst>
            <pc:docMk/>
            <pc:sldMk cId="3134657256" sldId="297"/>
            <ac:spMk id="83" creationId="{753F36A7-CE75-4A5D-8BAE-8679B764F925}"/>
          </ac:spMkLst>
        </pc:spChg>
        <pc:spChg chg="add del mod">
          <ac:chgData name="SANCHEZ, Ana Belen" userId="edb0bad4-5524-496f-a7b2-a7b260c9d378" providerId="ADAL" clId="{46E80352-2427-413C-A96B-B5680A74A93F}" dt="2020-02-13T10:57:21.309" v="1531" actId="478"/>
          <ac:spMkLst>
            <pc:docMk/>
            <pc:sldMk cId="3134657256" sldId="297"/>
            <ac:spMk id="85" creationId="{0F8A2DD4-DCF4-4F2A-87B8-473665D7B3B1}"/>
          </ac:spMkLst>
        </pc:spChg>
        <pc:spChg chg="add del mod">
          <ac:chgData name="SANCHEZ, Ana Belen" userId="edb0bad4-5524-496f-a7b2-a7b260c9d378" providerId="ADAL" clId="{46E80352-2427-413C-A96B-B5680A74A93F}" dt="2020-02-13T10:57:39.568" v="1535" actId="478"/>
          <ac:spMkLst>
            <pc:docMk/>
            <pc:sldMk cId="3134657256" sldId="297"/>
            <ac:spMk id="87" creationId="{F4A67BBB-1DAD-452F-BF7E-99FA7E1824FF}"/>
          </ac:spMkLst>
        </pc:spChg>
        <pc:grpChg chg="add del mod">
          <ac:chgData name="SANCHEZ, Ana Belen" userId="edb0bad4-5524-496f-a7b2-a7b260c9d378" providerId="ADAL" clId="{46E80352-2427-413C-A96B-B5680A74A93F}" dt="2020-02-12T14:07:11.758" v="66" actId="478"/>
          <ac:grpSpMkLst>
            <pc:docMk/>
            <pc:sldMk cId="3134657256" sldId="297"/>
            <ac:grpSpMk id="7" creationId="{83867CD1-932D-49C7-97E1-F7669A08F63E}"/>
          </ac:grpSpMkLst>
        </pc:grpChg>
        <pc:grpChg chg="add mod">
          <ac:chgData name="SANCHEZ, Ana Belen" userId="edb0bad4-5524-496f-a7b2-a7b260c9d378" providerId="ADAL" clId="{46E80352-2427-413C-A96B-B5680A74A93F}" dt="2020-02-12T14:18:06.954" v="193" actId="164"/>
          <ac:grpSpMkLst>
            <pc:docMk/>
            <pc:sldMk cId="3134657256" sldId="297"/>
            <ac:grpSpMk id="11" creationId="{07658592-0BDD-4329-8BEC-7B503EB42C5F}"/>
          </ac:grpSpMkLst>
        </pc:grpChg>
        <pc:grpChg chg="add mod ord">
          <ac:chgData name="SANCHEZ, Ana Belen" userId="edb0bad4-5524-496f-a7b2-a7b260c9d378" providerId="ADAL" clId="{46E80352-2427-413C-A96B-B5680A74A93F}" dt="2020-02-12T14:25:23.633" v="217" actId="164"/>
          <ac:grpSpMkLst>
            <pc:docMk/>
            <pc:sldMk cId="3134657256" sldId="297"/>
            <ac:grpSpMk id="18" creationId="{61275859-6A81-462F-9C49-A3130E971A36}"/>
          </ac:grpSpMkLst>
        </pc:grpChg>
        <pc:grpChg chg="add del mod">
          <ac:chgData name="SANCHEZ, Ana Belen" userId="edb0bad4-5524-496f-a7b2-a7b260c9d378" providerId="ADAL" clId="{46E80352-2427-413C-A96B-B5680A74A93F}" dt="2020-02-13T10:57:37.075" v="1534" actId="478"/>
          <ac:grpSpMkLst>
            <pc:docMk/>
            <pc:sldMk cId="3134657256" sldId="297"/>
            <ac:grpSpMk id="20" creationId="{401EE9E7-ED55-46E8-B511-4E80879DC112}"/>
          </ac:grpSpMkLst>
        </pc:grpChg>
        <pc:grpChg chg="add del mod">
          <ac:chgData name="SANCHEZ, Ana Belen" userId="edb0bad4-5524-496f-a7b2-a7b260c9d378" providerId="ADAL" clId="{46E80352-2427-413C-A96B-B5680A74A93F}" dt="2020-02-12T15:32:26.190" v="391" actId="165"/>
          <ac:grpSpMkLst>
            <pc:docMk/>
            <pc:sldMk cId="3134657256" sldId="297"/>
            <ac:grpSpMk id="35" creationId="{6F45F50C-7399-499C-9438-1F455079DD77}"/>
          </ac:grpSpMkLst>
        </pc:grpChg>
        <pc:grpChg chg="add del mod">
          <ac:chgData name="SANCHEZ, Ana Belen" userId="edb0bad4-5524-496f-a7b2-a7b260c9d378" providerId="ADAL" clId="{46E80352-2427-413C-A96B-B5680A74A93F}" dt="2020-02-12T15:36:00.156" v="404" actId="478"/>
          <ac:grpSpMkLst>
            <pc:docMk/>
            <pc:sldMk cId="3134657256" sldId="297"/>
            <ac:grpSpMk id="36" creationId="{BCEF96E8-D645-445A-9732-E85F44F9C2B7}"/>
          </ac:grpSpMkLst>
        </pc:grpChg>
        <pc:grpChg chg="add del mod">
          <ac:chgData name="SANCHEZ, Ana Belen" userId="edb0bad4-5524-496f-a7b2-a7b260c9d378" providerId="ADAL" clId="{46E80352-2427-413C-A96B-B5680A74A93F}" dt="2020-02-12T15:36:02.166" v="405" actId="478"/>
          <ac:grpSpMkLst>
            <pc:docMk/>
            <pc:sldMk cId="3134657256" sldId="297"/>
            <ac:grpSpMk id="39" creationId="{B5AB1ECE-5712-490C-A3AF-D3DF3FEFBF41}"/>
          </ac:grpSpMkLst>
        </pc:grpChg>
        <pc:grpChg chg="add del mod">
          <ac:chgData name="SANCHEZ, Ana Belen" userId="edb0bad4-5524-496f-a7b2-a7b260c9d378" providerId="ADAL" clId="{46E80352-2427-413C-A96B-B5680A74A93F}" dt="2020-02-12T15:36:04.255" v="406" actId="478"/>
          <ac:grpSpMkLst>
            <pc:docMk/>
            <pc:sldMk cId="3134657256" sldId="297"/>
            <ac:grpSpMk id="42" creationId="{035A7413-ABC1-4947-846F-568F85362900}"/>
          </ac:grpSpMkLst>
        </pc:grpChg>
        <pc:grpChg chg="add mod">
          <ac:chgData name="SANCHEZ, Ana Belen" userId="edb0bad4-5524-496f-a7b2-a7b260c9d378" providerId="ADAL" clId="{46E80352-2427-413C-A96B-B5680A74A93F}" dt="2020-02-13T08:21:33.486" v="543" actId="1076"/>
          <ac:grpSpMkLst>
            <pc:docMk/>
            <pc:sldMk cId="3134657256" sldId="297"/>
            <ac:grpSpMk id="59" creationId="{BEDDA323-6C2E-40F2-97BC-E32A6D543425}"/>
          </ac:grpSpMkLst>
        </pc:grpChg>
        <pc:grpChg chg="add mod">
          <ac:chgData name="SANCHEZ, Ana Belen" userId="edb0bad4-5524-496f-a7b2-a7b260c9d378" providerId="ADAL" clId="{46E80352-2427-413C-A96B-B5680A74A93F}" dt="2020-02-13T09:52:01.143" v="1353" actId="1076"/>
          <ac:grpSpMkLst>
            <pc:docMk/>
            <pc:sldMk cId="3134657256" sldId="297"/>
            <ac:grpSpMk id="60" creationId="{CD7E46C5-60D6-4BAD-B98B-8E12D1276ED3}"/>
          </ac:grpSpMkLst>
        </pc:grpChg>
        <pc:grpChg chg="add mod">
          <ac:chgData name="SANCHEZ, Ana Belen" userId="edb0bad4-5524-496f-a7b2-a7b260c9d378" providerId="ADAL" clId="{46E80352-2427-413C-A96B-B5680A74A93F}" dt="2020-02-12T15:53:41.488" v="507" actId="164"/>
          <ac:grpSpMkLst>
            <pc:docMk/>
            <pc:sldMk cId="3134657256" sldId="297"/>
            <ac:grpSpMk id="61" creationId="{88804A23-BB2F-4FFC-9593-1940FE310E0E}"/>
          </ac:grpSpMkLst>
        </pc:grpChg>
        <pc:grpChg chg="add mod">
          <ac:chgData name="SANCHEZ, Ana Belen" userId="edb0bad4-5524-496f-a7b2-a7b260c9d378" providerId="ADAL" clId="{46E80352-2427-413C-A96B-B5680A74A93F}" dt="2020-02-12T15:53:57.104" v="513" actId="164"/>
          <ac:grpSpMkLst>
            <pc:docMk/>
            <pc:sldMk cId="3134657256" sldId="297"/>
            <ac:grpSpMk id="62" creationId="{9E12D8A5-D716-45EA-B303-B78D55CBE29F}"/>
          </ac:grpSpMkLst>
        </pc:grpChg>
        <pc:grpChg chg="add mod ord">
          <ac:chgData name="SANCHEZ, Ana Belen" userId="edb0bad4-5524-496f-a7b2-a7b260c9d378" providerId="ADAL" clId="{46E80352-2427-413C-A96B-B5680A74A93F}" dt="2020-02-13T10:40:12.702" v="1415" actId="14100"/>
          <ac:grpSpMkLst>
            <pc:docMk/>
            <pc:sldMk cId="3134657256" sldId="297"/>
            <ac:grpSpMk id="63" creationId="{13381904-C2C4-41C0-899F-943A6DCE9DBF}"/>
          </ac:grpSpMkLst>
        </pc:grpChg>
        <pc:grpChg chg="add mod">
          <ac:chgData name="SANCHEZ, Ana Belen" userId="edb0bad4-5524-496f-a7b2-a7b260c9d378" providerId="ADAL" clId="{46E80352-2427-413C-A96B-B5680A74A93F}" dt="2020-02-13T10:55:53.098" v="1501" actId="1076"/>
          <ac:grpSpMkLst>
            <pc:docMk/>
            <pc:sldMk cId="3134657256" sldId="297"/>
            <ac:grpSpMk id="69" creationId="{33D06846-1319-497E-B31B-5F4F644A886E}"/>
          </ac:grpSpMkLst>
        </pc:grpChg>
        <pc:grpChg chg="add del">
          <ac:chgData name="SANCHEZ, Ana Belen" userId="edb0bad4-5524-496f-a7b2-a7b260c9d378" providerId="ADAL" clId="{46E80352-2427-413C-A96B-B5680A74A93F}" dt="2020-02-13T10:56:33.267" v="1503" actId="478"/>
          <ac:grpSpMkLst>
            <pc:docMk/>
            <pc:sldMk cId="3134657256" sldId="297"/>
            <ac:grpSpMk id="76" creationId="{59955FC5-9372-402B-816D-266ED33409CC}"/>
          </ac:grpSpMkLst>
        </pc:grpChg>
        <pc:picChg chg="add mod topLvl">
          <ac:chgData name="SANCHEZ, Ana Belen" userId="edb0bad4-5524-496f-a7b2-a7b260c9d378" providerId="ADAL" clId="{46E80352-2427-413C-A96B-B5680A74A93F}" dt="2020-02-12T14:12:03.517" v="135"/>
          <ac:picMkLst>
            <pc:docMk/>
            <pc:sldMk cId="3134657256" sldId="297"/>
            <ac:picMk id="3" creationId="{2B71C02F-2674-4958-9EA9-A3A1580B4216}"/>
          </ac:picMkLst>
        </pc:picChg>
        <pc:picChg chg="add del mod modCrop">
          <ac:chgData name="SANCHEZ, Ana Belen" userId="edb0bad4-5524-496f-a7b2-a7b260c9d378" providerId="ADAL" clId="{46E80352-2427-413C-A96B-B5680A74A93F}" dt="2020-02-12T14:17:24.140" v="184" actId="478"/>
          <ac:picMkLst>
            <pc:docMk/>
            <pc:sldMk cId="3134657256" sldId="297"/>
            <ac:picMk id="16" creationId="{80EFF79B-D630-4AB8-89DC-8947B28FBE52}"/>
          </ac:picMkLst>
        </pc:picChg>
        <pc:picChg chg="add del mod modCrop">
          <ac:chgData name="SANCHEZ, Ana Belen" userId="edb0bad4-5524-496f-a7b2-a7b260c9d378" providerId="ADAL" clId="{46E80352-2427-413C-A96B-B5680A74A93F}" dt="2020-02-12T14:17:26.217" v="185" actId="478"/>
          <ac:picMkLst>
            <pc:docMk/>
            <pc:sldMk cId="3134657256" sldId="297"/>
            <ac:picMk id="17" creationId="{CB07AFB7-E504-4D48-92A5-AF83E3851CBC}"/>
          </ac:picMkLst>
        </pc:picChg>
        <pc:picChg chg="add mod">
          <ac:chgData name="SANCHEZ, Ana Belen" userId="edb0bad4-5524-496f-a7b2-a7b260c9d378" providerId="ADAL" clId="{46E80352-2427-413C-A96B-B5680A74A93F}" dt="2020-02-12T14:25:23.633" v="217" actId="164"/>
          <ac:picMkLst>
            <pc:docMk/>
            <pc:sldMk cId="3134657256" sldId="297"/>
            <ac:picMk id="19" creationId="{87ED9DA4-8483-458F-A0E5-E44ECEDB6EA6}"/>
          </ac:picMkLst>
        </pc:picChg>
        <pc:picChg chg="add del mod modCrop">
          <ac:chgData name="SANCHEZ, Ana Belen" userId="edb0bad4-5524-496f-a7b2-a7b260c9d378" providerId="ADAL" clId="{46E80352-2427-413C-A96B-B5680A74A93F}" dt="2020-02-12T14:39:35.976" v="319" actId="478"/>
          <ac:picMkLst>
            <pc:docMk/>
            <pc:sldMk cId="3134657256" sldId="297"/>
            <ac:picMk id="22" creationId="{532CA6C9-3C4F-4343-B924-93F1AAACF953}"/>
          </ac:picMkLst>
        </pc:picChg>
        <pc:picChg chg="add del mod modCrop">
          <ac:chgData name="SANCHEZ, Ana Belen" userId="edb0bad4-5524-496f-a7b2-a7b260c9d378" providerId="ADAL" clId="{46E80352-2427-413C-A96B-B5680A74A93F}" dt="2020-02-12T14:39:38.393" v="320" actId="478"/>
          <ac:picMkLst>
            <pc:docMk/>
            <pc:sldMk cId="3134657256" sldId="297"/>
            <ac:picMk id="24" creationId="{7F0B12EC-CE04-4BA4-A7FA-63D86703FF21}"/>
          </ac:picMkLst>
        </pc:picChg>
        <pc:picChg chg="add del mod modCrop">
          <ac:chgData name="SANCHEZ, Ana Belen" userId="edb0bad4-5524-496f-a7b2-a7b260c9d378" providerId="ADAL" clId="{46E80352-2427-413C-A96B-B5680A74A93F}" dt="2020-02-12T14:39:43.268" v="323" actId="478"/>
          <ac:picMkLst>
            <pc:docMk/>
            <pc:sldMk cId="3134657256" sldId="297"/>
            <ac:picMk id="25" creationId="{3F351D8B-7D4D-4E26-83EB-FF73A5D58FD1}"/>
          </ac:picMkLst>
        </pc:picChg>
        <pc:picChg chg="add del mod modCrop">
          <ac:chgData name="SANCHEZ, Ana Belen" userId="edb0bad4-5524-496f-a7b2-a7b260c9d378" providerId="ADAL" clId="{46E80352-2427-413C-A96B-B5680A74A93F}" dt="2020-02-12T14:39:41.032" v="322" actId="478"/>
          <ac:picMkLst>
            <pc:docMk/>
            <pc:sldMk cId="3134657256" sldId="297"/>
            <ac:picMk id="26" creationId="{03062D3A-2EAD-463A-8ECF-8E07BEDF458A}"/>
          </ac:picMkLst>
        </pc:picChg>
        <pc:picChg chg="add mod modCrop">
          <ac:chgData name="SANCHEZ, Ana Belen" userId="edb0bad4-5524-496f-a7b2-a7b260c9d378" providerId="ADAL" clId="{46E80352-2427-413C-A96B-B5680A74A93F}" dt="2020-02-12T15:53:32.075" v="505" actId="164"/>
          <ac:picMkLst>
            <pc:docMk/>
            <pc:sldMk cId="3134657256" sldId="297"/>
            <ac:picMk id="28" creationId="{EB25D322-2D98-4687-B7B6-B50F6DD76177}"/>
          </ac:picMkLst>
        </pc:picChg>
        <pc:picChg chg="add mod modCrop">
          <ac:chgData name="SANCHEZ, Ana Belen" userId="edb0bad4-5524-496f-a7b2-a7b260c9d378" providerId="ADAL" clId="{46E80352-2427-413C-A96B-B5680A74A93F}" dt="2020-02-12T15:53:36.890" v="506" actId="164"/>
          <ac:picMkLst>
            <pc:docMk/>
            <pc:sldMk cId="3134657256" sldId="297"/>
            <ac:picMk id="29" creationId="{1947712E-7D9D-4531-86C5-406DF16516D1}"/>
          </ac:picMkLst>
        </pc:picChg>
        <pc:picChg chg="add mod modCrop">
          <ac:chgData name="SANCHEZ, Ana Belen" userId="edb0bad4-5524-496f-a7b2-a7b260c9d378" providerId="ADAL" clId="{46E80352-2427-413C-A96B-B5680A74A93F}" dt="2020-02-12T15:53:41.488" v="507" actId="164"/>
          <ac:picMkLst>
            <pc:docMk/>
            <pc:sldMk cId="3134657256" sldId="297"/>
            <ac:picMk id="30" creationId="{E37AFF95-A046-4F3E-B195-557D54666C6A}"/>
          </ac:picMkLst>
        </pc:picChg>
        <pc:picChg chg="add mod modCrop">
          <ac:chgData name="SANCHEZ, Ana Belen" userId="edb0bad4-5524-496f-a7b2-a7b260c9d378" providerId="ADAL" clId="{46E80352-2427-413C-A96B-B5680A74A93F}" dt="2020-02-13T10:40:26.287" v="1418" actId="14100"/>
          <ac:picMkLst>
            <pc:docMk/>
            <pc:sldMk cId="3134657256" sldId="297"/>
            <ac:picMk id="31" creationId="{2F9DE336-0683-4400-9DBA-58EECDD6FFBF}"/>
          </ac:picMkLst>
        </pc:picChg>
        <pc:picChg chg="add mod modCrop">
          <ac:chgData name="SANCHEZ, Ana Belen" userId="edb0bad4-5524-496f-a7b2-a7b260c9d378" providerId="ADAL" clId="{46E80352-2427-413C-A96B-B5680A74A93F}" dt="2020-02-12T15:53:32.075" v="505" actId="164"/>
          <ac:picMkLst>
            <pc:docMk/>
            <pc:sldMk cId="3134657256" sldId="297"/>
            <ac:picMk id="55" creationId="{FD33097C-C8CD-4D8E-8FA9-CA7E7DB3098D}"/>
          </ac:picMkLst>
        </pc:picChg>
        <pc:picChg chg="add mod modCrop">
          <ac:chgData name="SANCHEZ, Ana Belen" userId="edb0bad4-5524-496f-a7b2-a7b260c9d378" providerId="ADAL" clId="{46E80352-2427-413C-A96B-B5680A74A93F}" dt="2020-02-12T15:53:36.890" v="506" actId="164"/>
          <ac:picMkLst>
            <pc:docMk/>
            <pc:sldMk cId="3134657256" sldId="297"/>
            <ac:picMk id="56" creationId="{DF1E3FF3-A4B5-4BC8-987F-4DD8DA9F59A7}"/>
          </ac:picMkLst>
        </pc:picChg>
        <pc:picChg chg="add mod modCrop">
          <ac:chgData name="SANCHEZ, Ana Belen" userId="edb0bad4-5524-496f-a7b2-a7b260c9d378" providerId="ADAL" clId="{46E80352-2427-413C-A96B-B5680A74A93F}" dt="2020-02-12T15:53:41.488" v="507" actId="164"/>
          <ac:picMkLst>
            <pc:docMk/>
            <pc:sldMk cId="3134657256" sldId="297"/>
            <ac:picMk id="57" creationId="{424EFD93-F15A-4062-A060-FE02954DFA98}"/>
          </ac:picMkLst>
        </pc:picChg>
        <pc:picChg chg="add mod modCrop">
          <ac:chgData name="SANCHEZ, Ana Belen" userId="edb0bad4-5524-496f-a7b2-a7b260c9d378" providerId="ADAL" clId="{46E80352-2427-413C-A96B-B5680A74A93F}" dt="2020-02-12T15:54:17.273" v="516" actId="164"/>
          <ac:picMkLst>
            <pc:docMk/>
            <pc:sldMk cId="3134657256" sldId="297"/>
            <ac:picMk id="58" creationId="{6CE052C6-F5E3-4A0F-92EB-1B613FF6E93D}"/>
          </ac:picMkLst>
        </pc:picChg>
        <pc:picChg chg="add mod">
          <ac:chgData name="SANCHEZ, Ana Belen" userId="edb0bad4-5524-496f-a7b2-a7b260c9d378" providerId="ADAL" clId="{46E80352-2427-413C-A96B-B5680A74A93F}" dt="2020-02-13T10:14:02.871" v="1403" actId="1076"/>
          <ac:picMkLst>
            <pc:docMk/>
            <pc:sldMk cId="3134657256" sldId="297"/>
            <ac:picMk id="67" creationId="{2596D634-9EC1-4CE8-81EC-B1F2AD996DFC}"/>
          </ac:picMkLst>
        </pc:picChg>
        <pc:picChg chg="add mod">
          <ac:chgData name="SANCHEZ, Ana Belen" userId="edb0bad4-5524-496f-a7b2-a7b260c9d378" providerId="ADAL" clId="{46E80352-2427-413C-A96B-B5680A74A93F}" dt="2020-02-13T10:14:07.230" v="1404" actId="1076"/>
          <ac:picMkLst>
            <pc:docMk/>
            <pc:sldMk cId="3134657256" sldId="297"/>
            <ac:picMk id="68" creationId="{930D52DD-0E2D-4514-B683-E6C459DCD260}"/>
          </ac:picMkLst>
        </pc:picChg>
      </pc:sldChg>
      <pc:sldChg chg="addSp delSp modSp add ord modTransition addAnim delAnim modAnim">
        <pc:chgData name="SANCHEZ, Ana Belen" userId="edb0bad4-5524-496f-a7b2-a7b260c9d378" providerId="ADAL" clId="{46E80352-2427-413C-A96B-B5680A74A93F}" dt="2020-02-13T23:47:51.618" v="4824"/>
        <pc:sldMkLst>
          <pc:docMk/>
          <pc:sldMk cId="2783257079" sldId="298"/>
        </pc:sldMkLst>
        <pc:spChg chg="del">
          <ac:chgData name="SANCHEZ, Ana Belen" userId="edb0bad4-5524-496f-a7b2-a7b260c9d378" providerId="ADAL" clId="{46E80352-2427-413C-A96B-B5680A74A93F}" dt="2020-02-13T08:32:33.474" v="562" actId="478"/>
          <ac:spMkLst>
            <pc:docMk/>
            <pc:sldMk cId="2783257079" sldId="298"/>
            <ac:spMk id="2" creationId="{9584F297-650F-4B4D-8923-C77F2EE5F58B}"/>
          </ac:spMkLst>
        </pc:spChg>
        <pc:spChg chg="del">
          <ac:chgData name="SANCHEZ, Ana Belen" userId="edb0bad4-5524-496f-a7b2-a7b260c9d378" providerId="ADAL" clId="{46E80352-2427-413C-A96B-B5680A74A93F}" dt="2020-02-13T08:32:31.319" v="561" actId="478"/>
          <ac:spMkLst>
            <pc:docMk/>
            <pc:sldMk cId="2783257079" sldId="298"/>
            <ac:spMk id="3" creationId="{82602697-6EFD-4E31-8576-718C9930A6C4}"/>
          </ac:spMkLst>
        </pc:spChg>
        <pc:spChg chg="del">
          <ac:chgData name="SANCHEZ, Ana Belen" userId="edb0bad4-5524-496f-a7b2-a7b260c9d378" providerId="ADAL" clId="{46E80352-2427-413C-A96B-B5680A74A93F}" dt="2020-02-13T08:32:28.627" v="560" actId="478"/>
          <ac:spMkLst>
            <pc:docMk/>
            <pc:sldMk cId="2783257079" sldId="298"/>
            <ac:spMk id="4" creationId="{E1ACE245-B52B-40AE-9DE1-1537CFA7D3D2}"/>
          </ac:spMkLst>
        </pc:spChg>
        <pc:spChg chg="add mod">
          <ac:chgData name="SANCHEZ, Ana Belen" userId="edb0bad4-5524-496f-a7b2-a7b260c9d378" providerId="ADAL" clId="{46E80352-2427-413C-A96B-B5680A74A93F}" dt="2020-02-13T11:12:51.788" v="1609" actId="1076"/>
          <ac:spMkLst>
            <pc:docMk/>
            <pc:sldMk cId="2783257079" sldId="298"/>
            <ac:spMk id="6" creationId="{56D63219-D6EC-47ED-AE32-2705AEA82762}"/>
          </ac:spMkLst>
        </pc:spChg>
        <pc:spChg chg="add mod">
          <ac:chgData name="SANCHEZ, Ana Belen" userId="edb0bad4-5524-496f-a7b2-a7b260c9d378" providerId="ADAL" clId="{46E80352-2427-413C-A96B-B5680A74A93F}" dt="2020-02-13T11:12:55.924" v="1610" actId="1076"/>
          <ac:spMkLst>
            <pc:docMk/>
            <pc:sldMk cId="2783257079" sldId="298"/>
            <ac:spMk id="7" creationId="{FEF8EB39-B28B-4EEE-9956-0AF17B3F5030}"/>
          </ac:spMkLst>
        </pc:spChg>
        <pc:spChg chg="add del">
          <ac:chgData name="SANCHEZ, Ana Belen" userId="edb0bad4-5524-496f-a7b2-a7b260c9d378" providerId="ADAL" clId="{46E80352-2427-413C-A96B-B5680A74A93F}" dt="2020-02-13T10:44:01.455" v="1460" actId="478"/>
          <ac:spMkLst>
            <pc:docMk/>
            <pc:sldMk cId="2783257079" sldId="298"/>
            <ac:spMk id="9" creationId="{B1649F5A-5A99-4A4A-847C-2B8FA1A04311}"/>
          </ac:spMkLst>
        </pc:spChg>
        <pc:spChg chg="add mod">
          <ac:chgData name="SANCHEZ, Ana Belen" userId="edb0bad4-5524-496f-a7b2-a7b260c9d378" providerId="ADAL" clId="{46E80352-2427-413C-A96B-B5680A74A93F}" dt="2020-02-13T11:09:04.637" v="1586" actId="164"/>
          <ac:spMkLst>
            <pc:docMk/>
            <pc:sldMk cId="2783257079" sldId="298"/>
            <ac:spMk id="10" creationId="{4067D0EF-5495-4B4D-AB62-43966755FA14}"/>
          </ac:spMkLst>
        </pc:spChg>
        <pc:spChg chg="mod">
          <ac:chgData name="SANCHEZ, Ana Belen" userId="edb0bad4-5524-496f-a7b2-a7b260c9d378" providerId="ADAL" clId="{46E80352-2427-413C-A96B-B5680A74A93F}" dt="2020-02-13T11:10:06.575" v="1597" actId="1076"/>
          <ac:spMkLst>
            <pc:docMk/>
            <pc:sldMk cId="2783257079" sldId="298"/>
            <ac:spMk id="12" creationId="{3E5E6FD7-E857-4542-8338-F9645AA2CCF3}"/>
          </ac:spMkLst>
        </pc:spChg>
        <pc:spChg chg="mod">
          <ac:chgData name="SANCHEZ, Ana Belen" userId="edb0bad4-5524-496f-a7b2-a7b260c9d378" providerId="ADAL" clId="{46E80352-2427-413C-A96B-B5680A74A93F}" dt="2020-02-13T11:10:17.152" v="1598" actId="1076"/>
          <ac:spMkLst>
            <pc:docMk/>
            <pc:sldMk cId="2783257079" sldId="298"/>
            <ac:spMk id="13" creationId="{D4E58EB5-CAD1-4D15-95EC-205508B87416}"/>
          </ac:spMkLst>
        </pc:spChg>
        <pc:spChg chg="mod">
          <ac:chgData name="SANCHEZ, Ana Belen" userId="edb0bad4-5524-496f-a7b2-a7b260c9d378" providerId="ADAL" clId="{46E80352-2427-413C-A96B-B5680A74A93F}" dt="2020-02-13T11:10:17.152" v="1598" actId="1076"/>
          <ac:spMkLst>
            <pc:docMk/>
            <pc:sldMk cId="2783257079" sldId="298"/>
            <ac:spMk id="14" creationId="{6F356CD5-076F-4E5F-B831-8BD3E440A80F}"/>
          </ac:spMkLst>
        </pc:spChg>
        <pc:spChg chg="mod">
          <ac:chgData name="SANCHEZ, Ana Belen" userId="edb0bad4-5524-496f-a7b2-a7b260c9d378" providerId="ADAL" clId="{46E80352-2427-413C-A96B-B5680A74A93F}" dt="2020-02-13T11:10:17.152" v="1598" actId="1076"/>
          <ac:spMkLst>
            <pc:docMk/>
            <pc:sldMk cId="2783257079" sldId="298"/>
            <ac:spMk id="15" creationId="{AF2C3DB4-3115-4AD0-9F6F-DC03F7141DA3}"/>
          </ac:spMkLst>
        </pc:spChg>
        <pc:spChg chg="mod">
          <ac:chgData name="SANCHEZ, Ana Belen" userId="edb0bad4-5524-496f-a7b2-a7b260c9d378" providerId="ADAL" clId="{46E80352-2427-413C-A96B-B5680A74A93F}" dt="2020-02-13T11:10:17.152" v="1598" actId="1076"/>
          <ac:spMkLst>
            <pc:docMk/>
            <pc:sldMk cId="2783257079" sldId="298"/>
            <ac:spMk id="16" creationId="{79E4D5CE-B1F8-4C2D-B82C-0EE290DBFF1A}"/>
          </ac:spMkLst>
        </pc:spChg>
        <pc:spChg chg="mod">
          <ac:chgData name="SANCHEZ, Ana Belen" userId="edb0bad4-5524-496f-a7b2-a7b260c9d378" providerId="ADAL" clId="{46E80352-2427-413C-A96B-B5680A74A93F}" dt="2020-02-13T11:10:17.152" v="1598" actId="1076"/>
          <ac:spMkLst>
            <pc:docMk/>
            <pc:sldMk cId="2783257079" sldId="298"/>
            <ac:spMk id="17" creationId="{A41A1874-A562-45E5-A4FE-189E44C4A3D7}"/>
          </ac:spMkLst>
        </pc:spChg>
        <pc:spChg chg="mod">
          <ac:chgData name="SANCHEZ, Ana Belen" userId="edb0bad4-5524-496f-a7b2-a7b260c9d378" providerId="ADAL" clId="{46E80352-2427-413C-A96B-B5680A74A93F}" dt="2020-02-13T11:10:20.319" v="1599" actId="1076"/>
          <ac:spMkLst>
            <pc:docMk/>
            <pc:sldMk cId="2783257079" sldId="298"/>
            <ac:spMk id="18" creationId="{AB7814FF-D01E-4A50-9DC1-F972E6145642}"/>
          </ac:spMkLst>
        </pc:spChg>
        <pc:spChg chg="mod">
          <ac:chgData name="SANCHEZ, Ana Belen" userId="edb0bad4-5524-496f-a7b2-a7b260c9d378" providerId="ADAL" clId="{46E80352-2427-413C-A96B-B5680A74A93F}" dt="2020-02-13T10:51:59.922" v="1487" actId="207"/>
          <ac:spMkLst>
            <pc:docMk/>
            <pc:sldMk cId="2783257079" sldId="298"/>
            <ac:spMk id="30" creationId="{FCF0FFC7-B56C-4DF9-9956-069AD13B2172}"/>
          </ac:spMkLst>
        </pc:spChg>
        <pc:spChg chg="mod">
          <ac:chgData name="SANCHEZ, Ana Belen" userId="edb0bad4-5524-496f-a7b2-a7b260c9d378" providerId="ADAL" clId="{46E80352-2427-413C-A96B-B5680A74A93F}" dt="2020-02-13T11:07:11.259" v="1566" actId="207"/>
          <ac:spMkLst>
            <pc:docMk/>
            <pc:sldMk cId="2783257079" sldId="298"/>
            <ac:spMk id="37" creationId="{1FB01938-6C59-4473-8CD1-EC972DFDDDCF}"/>
          </ac:spMkLst>
        </pc:spChg>
        <pc:spChg chg="add mod">
          <ac:chgData name="SANCHEZ, Ana Belen" userId="edb0bad4-5524-496f-a7b2-a7b260c9d378" providerId="ADAL" clId="{46E80352-2427-413C-A96B-B5680A74A93F}" dt="2020-02-13T11:14:50.317" v="1613" actId="208"/>
          <ac:spMkLst>
            <pc:docMk/>
            <pc:sldMk cId="2783257079" sldId="298"/>
            <ac:spMk id="51" creationId="{9B636C84-7784-413E-9943-CDD89B67CB8B}"/>
          </ac:spMkLst>
        </pc:spChg>
        <pc:grpChg chg="add mod">
          <ac:chgData name="SANCHEZ, Ana Belen" userId="edb0bad4-5524-496f-a7b2-a7b260c9d378" providerId="ADAL" clId="{46E80352-2427-413C-A96B-B5680A74A93F}" dt="2020-02-13T11:09:47.845" v="1594" actId="1076"/>
          <ac:grpSpMkLst>
            <pc:docMk/>
            <pc:sldMk cId="2783257079" sldId="298"/>
            <ac:grpSpMk id="11" creationId="{01D5E6D3-FCF9-4C0C-AB51-5671769D8F51}"/>
          </ac:grpSpMkLst>
        </pc:grpChg>
        <pc:grpChg chg="add del mod">
          <ac:chgData name="SANCHEZ, Ana Belen" userId="edb0bad4-5524-496f-a7b2-a7b260c9d378" providerId="ADAL" clId="{46E80352-2427-413C-A96B-B5680A74A93F}" dt="2020-02-13T10:49:26.580" v="1479" actId="478"/>
          <ac:grpSpMkLst>
            <pc:docMk/>
            <pc:sldMk cId="2783257079" sldId="298"/>
            <ac:grpSpMk id="19" creationId="{868BD3CF-7FC4-416C-A186-7BFE46B15D2C}"/>
          </ac:grpSpMkLst>
        </pc:grpChg>
        <pc:grpChg chg="add mod">
          <ac:chgData name="SANCHEZ, Ana Belen" userId="edb0bad4-5524-496f-a7b2-a7b260c9d378" providerId="ADAL" clId="{46E80352-2427-413C-A96B-B5680A74A93F}" dt="2020-02-13T11:09:48.891" v="1595" actId="12789"/>
          <ac:grpSpMkLst>
            <pc:docMk/>
            <pc:sldMk cId="2783257079" sldId="298"/>
            <ac:grpSpMk id="29" creationId="{F15DF32D-D292-43DB-BDAA-D948CF6EAD5D}"/>
          </ac:grpSpMkLst>
        </pc:grpChg>
        <pc:grpChg chg="mod">
          <ac:chgData name="SANCHEZ, Ana Belen" userId="edb0bad4-5524-496f-a7b2-a7b260c9d378" providerId="ADAL" clId="{46E80352-2427-413C-A96B-B5680A74A93F}" dt="2020-02-13T11:09:48.891" v="1595" actId="12789"/>
          <ac:grpSpMkLst>
            <pc:docMk/>
            <pc:sldMk cId="2783257079" sldId="298"/>
            <ac:grpSpMk id="31" creationId="{2E238D12-A172-4FF2-8B32-B0967929818F}"/>
          </ac:grpSpMkLst>
        </pc:grpChg>
        <pc:grpChg chg="add mod">
          <ac:chgData name="SANCHEZ, Ana Belen" userId="edb0bad4-5524-496f-a7b2-a7b260c9d378" providerId="ADAL" clId="{46E80352-2427-413C-A96B-B5680A74A93F}" dt="2020-02-13T11:09:48.891" v="1595" actId="12789"/>
          <ac:grpSpMkLst>
            <pc:docMk/>
            <pc:sldMk cId="2783257079" sldId="298"/>
            <ac:grpSpMk id="36" creationId="{3FD25EA4-9D2C-4173-AAE0-30D760A7B493}"/>
          </ac:grpSpMkLst>
        </pc:grpChg>
        <pc:grpChg chg="mod">
          <ac:chgData name="SANCHEZ, Ana Belen" userId="edb0bad4-5524-496f-a7b2-a7b260c9d378" providerId="ADAL" clId="{46E80352-2427-413C-A96B-B5680A74A93F}" dt="2020-02-13T11:09:48.891" v="1595" actId="12789"/>
          <ac:grpSpMkLst>
            <pc:docMk/>
            <pc:sldMk cId="2783257079" sldId="298"/>
            <ac:grpSpMk id="38" creationId="{B65080D8-EBE7-4576-99C7-C6B58ABBE922}"/>
          </ac:grpSpMkLst>
        </pc:grpChg>
        <pc:grpChg chg="add del mod">
          <ac:chgData name="SANCHEZ, Ana Belen" userId="edb0bad4-5524-496f-a7b2-a7b260c9d378" providerId="ADAL" clId="{46E80352-2427-413C-A96B-B5680A74A93F}" dt="2020-02-13T11:08:50.099" v="1581" actId="1076"/>
          <ac:grpSpMkLst>
            <pc:docMk/>
            <pc:sldMk cId="2783257079" sldId="298"/>
            <ac:grpSpMk id="43" creationId="{10847C6D-19E0-4700-A9B1-07341C8E34A8}"/>
          </ac:grpSpMkLst>
        </pc:grpChg>
        <pc:grpChg chg="add mod">
          <ac:chgData name="SANCHEZ, Ana Belen" userId="edb0bad4-5524-496f-a7b2-a7b260c9d378" providerId="ADAL" clId="{46E80352-2427-413C-A96B-B5680A74A93F}" dt="2020-02-13T11:09:48.891" v="1595" actId="12789"/>
          <ac:grpSpMkLst>
            <pc:docMk/>
            <pc:sldMk cId="2783257079" sldId="298"/>
            <ac:grpSpMk id="48" creationId="{B35E577C-AAD2-4E90-8CE3-7E0A5AE01127}"/>
          </ac:grpSpMkLst>
        </pc:grpChg>
        <pc:grpChg chg="add mod">
          <ac:chgData name="SANCHEZ, Ana Belen" userId="edb0bad4-5524-496f-a7b2-a7b260c9d378" providerId="ADAL" clId="{46E80352-2427-413C-A96B-B5680A74A93F}" dt="2020-02-13T11:09:48.891" v="1595" actId="12789"/>
          <ac:grpSpMkLst>
            <pc:docMk/>
            <pc:sldMk cId="2783257079" sldId="298"/>
            <ac:grpSpMk id="49" creationId="{604F1BCE-5C3F-4B3B-9A97-3F55326C49E6}"/>
          </ac:grpSpMkLst>
        </pc:grpChg>
        <pc:grpChg chg="add mod">
          <ac:chgData name="SANCHEZ, Ana Belen" userId="edb0bad4-5524-496f-a7b2-a7b260c9d378" providerId="ADAL" clId="{46E80352-2427-413C-A96B-B5680A74A93F}" dt="2020-02-13T11:09:48.891" v="1595" actId="12789"/>
          <ac:grpSpMkLst>
            <pc:docMk/>
            <pc:sldMk cId="2783257079" sldId="298"/>
            <ac:grpSpMk id="50" creationId="{9ADBB43C-1C5B-49B4-B919-00F72BA232A0}"/>
          </ac:grpSpMkLst>
        </pc:grpChg>
        <pc:picChg chg="add del mod">
          <ac:chgData name="SANCHEZ, Ana Belen" userId="edb0bad4-5524-496f-a7b2-a7b260c9d378" providerId="ADAL" clId="{46E80352-2427-413C-A96B-B5680A74A93F}" dt="2020-02-13T11:07:48.790" v="1568"/>
          <ac:picMkLst>
            <pc:docMk/>
            <pc:sldMk cId="2783257079" sldId="298"/>
            <ac:picMk id="5" creationId="{F9C7ABC7-06FF-47E7-9E86-E45250AB24CC}"/>
          </ac:picMkLst>
        </pc:picChg>
        <pc:picChg chg="add del mod">
          <ac:chgData name="SANCHEZ, Ana Belen" userId="edb0bad4-5524-496f-a7b2-a7b260c9d378" providerId="ADAL" clId="{46E80352-2427-413C-A96B-B5680A74A93F}" dt="2020-02-13T10:43:50.287" v="1458" actId="478"/>
          <ac:picMkLst>
            <pc:docMk/>
            <pc:sldMk cId="2783257079" sldId="298"/>
            <ac:picMk id="8" creationId="{AA85C255-9F49-448B-A6D0-31B560F4D2CE}"/>
          </ac:picMkLst>
        </pc:picChg>
      </pc:sldChg>
      <pc:sldChg chg="add ord modTransition">
        <pc:chgData name="SANCHEZ, Ana Belen" userId="edb0bad4-5524-496f-a7b2-a7b260c9d378" providerId="ADAL" clId="{46E80352-2427-413C-A96B-B5680A74A93F}" dt="2020-02-13T23:47:47.809" v="4823"/>
        <pc:sldMkLst>
          <pc:docMk/>
          <pc:sldMk cId="3418487071" sldId="299"/>
        </pc:sldMkLst>
      </pc:sldChg>
      <pc:sldChg chg="addSp delSp modSp add delAnim modAnim">
        <pc:chgData name="SANCHEZ, Ana Belen" userId="edb0bad4-5524-496f-a7b2-a7b260c9d378" providerId="ADAL" clId="{46E80352-2427-413C-A96B-B5680A74A93F}" dt="2020-02-13T22:03:24.606" v="4005" actId="1076"/>
        <pc:sldMkLst>
          <pc:docMk/>
          <pc:sldMk cId="3157280742" sldId="300"/>
        </pc:sldMkLst>
        <pc:spChg chg="add mod">
          <ac:chgData name="SANCHEZ, Ana Belen" userId="edb0bad4-5524-496f-a7b2-a7b260c9d378" providerId="ADAL" clId="{46E80352-2427-413C-A96B-B5680A74A93F}" dt="2020-02-13T22:03:20.150" v="4004" actId="1076"/>
          <ac:spMkLst>
            <pc:docMk/>
            <pc:sldMk cId="3157280742" sldId="300"/>
            <ac:spMk id="3" creationId="{B80EE8DB-48FB-4368-9354-C2043B47A51A}"/>
          </ac:spMkLst>
        </pc:spChg>
        <pc:spChg chg="del mod">
          <ac:chgData name="SANCHEZ, Ana Belen" userId="edb0bad4-5524-496f-a7b2-a7b260c9d378" providerId="ADAL" clId="{46E80352-2427-413C-A96B-B5680A74A93F}" dt="2020-02-13T11:04:27.215" v="1542" actId="478"/>
          <ac:spMkLst>
            <pc:docMk/>
            <pc:sldMk cId="3157280742" sldId="300"/>
            <ac:spMk id="64" creationId="{D773A95D-A561-4B41-8893-93D787F9DCBC}"/>
          </ac:spMkLst>
        </pc:spChg>
        <pc:spChg chg="del mod">
          <ac:chgData name="SANCHEZ, Ana Belen" userId="edb0bad4-5524-496f-a7b2-a7b260c9d378" providerId="ADAL" clId="{46E80352-2427-413C-A96B-B5680A74A93F}" dt="2020-02-13T11:04:38.558" v="1548" actId="478"/>
          <ac:spMkLst>
            <pc:docMk/>
            <pc:sldMk cId="3157280742" sldId="300"/>
            <ac:spMk id="65" creationId="{7382A28B-4671-4218-AAD1-DF3C43986452}"/>
          </ac:spMkLst>
        </pc:spChg>
        <pc:spChg chg="mod">
          <ac:chgData name="SANCHEZ, Ana Belen" userId="edb0bad4-5524-496f-a7b2-a7b260c9d378" providerId="ADAL" clId="{46E80352-2427-413C-A96B-B5680A74A93F}" dt="2020-02-13T12:07:38.058" v="1703" actId="12788"/>
          <ac:spMkLst>
            <pc:docMk/>
            <pc:sldMk cId="3157280742" sldId="300"/>
            <ac:spMk id="91" creationId="{22DEE77E-E4E8-4BEE-B3E0-A4D217D81E77}"/>
          </ac:spMkLst>
        </pc:spChg>
        <pc:spChg chg="mod">
          <ac:chgData name="SANCHEZ, Ana Belen" userId="edb0bad4-5524-496f-a7b2-a7b260c9d378" providerId="ADAL" clId="{46E80352-2427-413C-A96B-B5680A74A93F}" dt="2020-02-13T12:07:38.058" v="1703" actId="12788"/>
          <ac:spMkLst>
            <pc:docMk/>
            <pc:sldMk cId="3157280742" sldId="300"/>
            <ac:spMk id="93" creationId="{D8EBC918-5A47-43E7-86B3-8E3E921E94DE}"/>
          </ac:spMkLst>
        </pc:spChg>
        <pc:spChg chg="mod">
          <ac:chgData name="SANCHEZ, Ana Belen" userId="edb0bad4-5524-496f-a7b2-a7b260c9d378" providerId="ADAL" clId="{46E80352-2427-413C-A96B-B5680A74A93F}" dt="2020-02-13T12:07:59.234" v="1704" actId="1076"/>
          <ac:spMkLst>
            <pc:docMk/>
            <pc:sldMk cId="3157280742" sldId="300"/>
            <ac:spMk id="94" creationId="{5089C31E-5C13-4CF9-BFE6-FAD218DC8BBD}"/>
          </ac:spMkLst>
        </pc:spChg>
        <pc:spChg chg="mod">
          <ac:chgData name="SANCHEZ, Ana Belen" userId="edb0bad4-5524-496f-a7b2-a7b260c9d378" providerId="ADAL" clId="{46E80352-2427-413C-A96B-B5680A74A93F}" dt="2020-02-13T12:07:59.234" v="1704" actId="1076"/>
          <ac:spMkLst>
            <pc:docMk/>
            <pc:sldMk cId="3157280742" sldId="300"/>
            <ac:spMk id="95" creationId="{AC1B9DCA-246D-49BB-B605-2C21070C62AC}"/>
          </ac:spMkLst>
        </pc:spChg>
        <pc:spChg chg="mod">
          <ac:chgData name="SANCHEZ, Ana Belen" userId="edb0bad4-5524-496f-a7b2-a7b260c9d378" providerId="ADAL" clId="{46E80352-2427-413C-A96B-B5680A74A93F}" dt="2020-02-13T12:07:59.234" v="1704" actId="1076"/>
          <ac:spMkLst>
            <pc:docMk/>
            <pc:sldMk cId="3157280742" sldId="300"/>
            <ac:spMk id="96" creationId="{7C75A914-11C9-4573-AF27-A03026B0BF46}"/>
          </ac:spMkLst>
        </pc:spChg>
        <pc:spChg chg="mod">
          <ac:chgData name="SANCHEZ, Ana Belen" userId="edb0bad4-5524-496f-a7b2-a7b260c9d378" providerId="ADAL" clId="{46E80352-2427-413C-A96B-B5680A74A93F}" dt="2020-02-13T12:07:59.234" v="1704" actId="1076"/>
          <ac:spMkLst>
            <pc:docMk/>
            <pc:sldMk cId="3157280742" sldId="300"/>
            <ac:spMk id="97" creationId="{29F96CE9-6CFA-41B2-9FA2-617DA1A396F5}"/>
          </ac:spMkLst>
        </pc:spChg>
        <pc:spChg chg="mod">
          <ac:chgData name="SANCHEZ, Ana Belen" userId="edb0bad4-5524-496f-a7b2-a7b260c9d378" providerId="ADAL" clId="{46E80352-2427-413C-A96B-B5680A74A93F}" dt="2020-02-13T12:07:59.234" v="1704" actId="1076"/>
          <ac:spMkLst>
            <pc:docMk/>
            <pc:sldMk cId="3157280742" sldId="300"/>
            <ac:spMk id="98" creationId="{6D54D58B-15D0-4154-9947-09B8C61FD308}"/>
          </ac:spMkLst>
        </pc:spChg>
        <pc:spChg chg="mod">
          <ac:chgData name="SANCHEZ, Ana Belen" userId="edb0bad4-5524-496f-a7b2-a7b260c9d378" providerId="ADAL" clId="{46E80352-2427-413C-A96B-B5680A74A93F}" dt="2020-02-13T12:07:59.234" v="1704" actId="1076"/>
          <ac:spMkLst>
            <pc:docMk/>
            <pc:sldMk cId="3157280742" sldId="300"/>
            <ac:spMk id="99" creationId="{DA6971A0-08DB-49D9-9892-47DC1C544180}"/>
          </ac:spMkLst>
        </pc:spChg>
        <pc:spChg chg="mod">
          <ac:chgData name="SANCHEZ, Ana Belen" userId="edb0bad4-5524-496f-a7b2-a7b260c9d378" providerId="ADAL" clId="{46E80352-2427-413C-A96B-B5680A74A93F}" dt="2020-02-13T12:07:14.478" v="1699" actId="12788"/>
          <ac:spMkLst>
            <pc:docMk/>
            <pc:sldMk cId="3157280742" sldId="300"/>
            <ac:spMk id="101" creationId="{1F8FCA55-F0D0-4FA3-A6A8-E15336C30504}"/>
          </ac:spMkLst>
        </pc:spChg>
        <pc:spChg chg="mod">
          <ac:chgData name="SANCHEZ, Ana Belen" userId="edb0bad4-5524-496f-a7b2-a7b260c9d378" providerId="ADAL" clId="{46E80352-2427-413C-A96B-B5680A74A93F}" dt="2020-02-13T12:07:14.478" v="1699" actId="12788"/>
          <ac:spMkLst>
            <pc:docMk/>
            <pc:sldMk cId="3157280742" sldId="300"/>
            <ac:spMk id="103" creationId="{284288DF-8A37-42EE-AB8D-184263E87CDE}"/>
          </ac:spMkLst>
        </pc:spChg>
        <pc:spChg chg="mod">
          <ac:chgData name="SANCHEZ, Ana Belen" userId="edb0bad4-5524-496f-a7b2-a7b260c9d378" providerId="ADAL" clId="{46E80352-2427-413C-A96B-B5680A74A93F}" dt="2020-02-13T12:32:10.200" v="1817" actId="1076"/>
          <ac:spMkLst>
            <pc:docMk/>
            <pc:sldMk cId="3157280742" sldId="300"/>
            <ac:spMk id="105" creationId="{38AB37A0-B6BB-4A7D-B8A8-B5FAD3E2980A}"/>
          </ac:spMkLst>
        </pc:spChg>
        <pc:spChg chg="mod">
          <ac:chgData name="SANCHEZ, Ana Belen" userId="edb0bad4-5524-496f-a7b2-a7b260c9d378" providerId="ADAL" clId="{46E80352-2427-413C-A96B-B5680A74A93F}" dt="2020-02-13T12:32:10.200" v="1817" actId="1076"/>
          <ac:spMkLst>
            <pc:docMk/>
            <pc:sldMk cId="3157280742" sldId="300"/>
            <ac:spMk id="106" creationId="{1061BDA0-1816-4259-90C3-ACC407882083}"/>
          </ac:spMkLst>
        </pc:spChg>
        <pc:spChg chg="mod">
          <ac:chgData name="SANCHEZ, Ana Belen" userId="edb0bad4-5524-496f-a7b2-a7b260c9d378" providerId="ADAL" clId="{46E80352-2427-413C-A96B-B5680A74A93F}" dt="2020-02-13T12:32:10.200" v="1817" actId="1076"/>
          <ac:spMkLst>
            <pc:docMk/>
            <pc:sldMk cId="3157280742" sldId="300"/>
            <ac:spMk id="107" creationId="{F887899E-C806-4492-9FD9-6397142653F6}"/>
          </ac:spMkLst>
        </pc:spChg>
        <pc:spChg chg="mod">
          <ac:chgData name="SANCHEZ, Ana Belen" userId="edb0bad4-5524-496f-a7b2-a7b260c9d378" providerId="ADAL" clId="{46E80352-2427-413C-A96B-B5680A74A93F}" dt="2020-02-13T12:32:10.200" v="1817" actId="1076"/>
          <ac:spMkLst>
            <pc:docMk/>
            <pc:sldMk cId="3157280742" sldId="300"/>
            <ac:spMk id="108" creationId="{D1E617CD-E7D9-4076-953E-01C76C286E9C}"/>
          </ac:spMkLst>
        </pc:spChg>
        <pc:spChg chg="mod">
          <ac:chgData name="SANCHEZ, Ana Belen" userId="edb0bad4-5524-496f-a7b2-a7b260c9d378" providerId="ADAL" clId="{46E80352-2427-413C-A96B-B5680A74A93F}" dt="2020-02-13T12:07:23.309" v="1700" actId="12788"/>
          <ac:spMkLst>
            <pc:docMk/>
            <pc:sldMk cId="3157280742" sldId="300"/>
            <ac:spMk id="110" creationId="{EA87149D-FF75-4D4E-93FA-C165B61420A7}"/>
          </ac:spMkLst>
        </pc:spChg>
        <pc:spChg chg="mod">
          <ac:chgData name="SANCHEZ, Ana Belen" userId="edb0bad4-5524-496f-a7b2-a7b260c9d378" providerId="ADAL" clId="{46E80352-2427-413C-A96B-B5680A74A93F}" dt="2020-02-13T13:58:51.456" v="2058" actId="1076"/>
          <ac:spMkLst>
            <pc:docMk/>
            <pc:sldMk cId="3157280742" sldId="300"/>
            <ac:spMk id="112" creationId="{082BC620-B39D-4D6A-8357-DCFA01F4A2C1}"/>
          </ac:spMkLst>
        </pc:spChg>
        <pc:spChg chg="mod">
          <ac:chgData name="SANCHEZ, Ana Belen" userId="edb0bad4-5524-496f-a7b2-a7b260c9d378" providerId="ADAL" clId="{46E80352-2427-413C-A96B-B5680A74A93F}" dt="2020-02-13T12:32:56.511" v="1820" actId="1076"/>
          <ac:spMkLst>
            <pc:docMk/>
            <pc:sldMk cId="3157280742" sldId="300"/>
            <ac:spMk id="114" creationId="{36505497-E0E2-4C12-B438-BFBCCABFAFA0}"/>
          </ac:spMkLst>
        </pc:spChg>
        <pc:spChg chg="mod">
          <ac:chgData name="SANCHEZ, Ana Belen" userId="edb0bad4-5524-496f-a7b2-a7b260c9d378" providerId="ADAL" clId="{46E80352-2427-413C-A96B-B5680A74A93F}" dt="2020-02-13T12:32:59.366" v="1821" actId="1076"/>
          <ac:spMkLst>
            <pc:docMk/>
            <pc:sldMk cId="3157280742" sldId="300"/>
            <ac:spMk id="115" creationId="{82E87B24-D2B6-4763-AD27-F00D9861E507}"/>
          </ac:spMkLst>
        </pc:spChg>
        <pc:spChg chg="mod">
          <ac:chgData name="SANCHEZ, Ana Belen" userId="edb0bad4-5524-496f-a7b2-a7b260c9d378" providerId="ADAL" clId="{46E80352-2427-413C-A96B-B5680A74A93F}" dt="2020-02-13T12:32:56.511" v="1820" actId="1076"/>
          <ac:spMkLst>
            <pc:docMk/>
            <pc:sldMk cId="3157280742" sldId="300"/>
            <ac:spMk id="116" creationId="{6952C151-769F-41C6-9E9C-304AE12690E3}"/>
          </ac:spMkLst>
        </pc:spChg>
        <pc:spChg chg="mod">
          <ac:chgData name="SANCHEZ, Ana Belen" userId="edb0bad4-5524-496f-a7b2-a7b260c9d378" providerId="ADAL" clId="{46E80352-2427-413C-A96B-B5680A74A93F}" dt="2020-02-13T14:00:49.697" v="2077" actId="1076"/>
          <ac:spMkLst>
            <pc:docMk/>
            <pc:sldMk cId="3157280742" sldId="300"/>
            <ac:spMk id="117" creationId="{E4DA0930-7507-4F9D-A2ED-48A8E43596A7}"/>
          </ac:spMkLst>
        </pc:spChg>
        <pc:spChg chg="mod">
          <ac:chgData name="SANCHEZ, Ana Belen" userId="edb0bad4-5524-496f-a7b2-a7b260c9d378" providerId="ADAL" clId="{46E80352-2427-413C-A96B-B5680A74A93F}" dt="2020-02-13T12:31:15.926" v="1805" actId="113"/>
          <ac:spMkLst>
            <pc:docMk/>
            <pc:sldMk cId="3157280742" sldId="300"/>
            <ac:spMk id="177" creationId="{53436EE8-5B2C-4DDB-B073-1990A0B9DBA7}"/>
          </ac:spMkLst>
        </pc:spChg>
        <pc:spChg chg="mod">
          <ac:chgData name="SANCHEZ, Ana Belen" userId="edb0bad4-5524-496f-a7b2-a7b260c9d378" providerId="ADAL" clId="{46E80352-2427-413C-A96B-B5680A74A93F}" dt="2020-02-13T12:31:15.926" v="1805" actId="113"/>
          <ac:spMkLst>
            <pc:docMk/>
            <pc:sldMk cId="3157280742" sldId="300"/>
            <ac:spMk id="184" creationId="{51365FD2-92D4-4C33-B3A3-8CABC1EB5BE2}"/>
          </ac:spMkLst>
        </pc:spChg>
        <pc:spChg chg="mod">
          <ac:chgData name="SANCHEZ, Ana Belen" userId="edb0bad4-5524-496f-a7b2-a7b260c9d378" providerId="ADAL" clId="{46E80352-2427-413C-A96B-B5680A74A93F}" dt="2020-02-13T14:01:20.689" v="2084" actId="14100"/>
          <ac:spMkLst>
            <pc:docMk/>
            <pc:sldMk cId="3157280742" sldId="300"/>
            <ac:spMk id="208" creationId="{C7CBE74F-A474-49D9-BDD4-702E3B3C32DA}"/>
          </ac:spMkLst>
        </pc:spChg>
        <pc:spChg chg="mod">
          <ac:chgData name="SANCHEZ, Ana Belen" userId="edb0bad4-5524-496f-a7b2-a7b260c9d378" providerId="ADAL" clId="{46E80352-2427-413C-A96B-B5680A74A93F}" dt="2020-02-13T14:01:13.462" v="2081" actId="14100"/>
          <ac:spMkLst>
            <pc:docMk/>
            <pc:sldMk cId="3157280742" sldId="300"/>
            <ac:spMk id="215" creationId="{9433DCE1-E9B1-4F3C-962E-A2114D3F0814}"/>
          </ac:spMkLst>
        </pc:spChg>
        <pc:spChg chg="mod">
          <ac:chgData name="SANCHEZ, Ana Belen" userId="edb0bad4-5524-496f-a7b2-a7b260c9d378" providerId="ADAL" clId="{46E80352-2427-413C-A96B-B5680A74A93F}" dt="2020-02-13T14:00:16.415" v="2073" actId="1076"/>
          <ac:spMkLst>
            <pc:docMk/>
            <pc:sldMk cId="3157280742" sldId="300"/>
            <ac:spMk id="218" creationId="{3EA5A2B5-20D0-450F-B544-31E5CF154863}"/>
          </ac:spMkLst>
        </pc:spChg>
        <pc:spChg chg="mod">
          <ac:chgData name="SANCHEZ, Ana Belen" userId="edb0bad4-5524-496f-a7b2-a7b260c9d378" providerId="ADAL" clId="{46E80352-2427-413C-A96B-B5680A74A93F}" dt="2020-02-13T14:00:16.415" v="2073" actId="1076"/>
          <ac:spMkLst>
            <pc:docMk/>
            <pc:sldMk cId="3157280742" sldId="300"/>
            <ac:spMk id="219" creationId="{66EBEB0F-0A75-4509-9063-E80BC55CA837}"/>
          </ac:spMkLst>
        </pc:spChg>
        <pc:spChg chg="mod">
          <ac:chgData name="SANCHEZ, Ana Belen" userId="edb0bad4-5524-496f-a7b2-a7b260c9d378" providerId="ADAL" clId="{46E80352-2427-413C-A96B-B5680A74A93F}" dt="2020-02-13T14:01:16.990" v="2082" actId="14100"/>
          <ac:spMkLst>
            <pc:docMk/>
            <pc:sldMk cId="3157280742" sldId="300"/>
            <ac:spMk id="227" creationId="{EA163052-CFC5-4014-B2E7-DA0A92AE8C27}"/>
          </ac:spMkLst>
        </pc:spChg>
        <pc:grpChg chg="add del mod">
          <ac:chgData name="SANCHEZ, Ana Belen" userId="edb0bad4-5524-496f-a7b2-a7b260c9d378" providerId="ADAL" clId="{46E80352-2427-413C-A96B-B5680A74A93F}" dt="2020-02-13T11:52:02.704" v="1621"/>
          <ac:grpSpMkLst>
            <pc:docMk/>
            <pc:sldMk cId="3157280742" sldId="300"/>
            <ac:grpSpMk id="34" creationId="{DCB0918B-52D5-4933-8676-B2107F0D04C8}"/>
          </ac:grpSpMkLst>
        </pc:grpChg>
        <pc:grpChg chg="mod">
          <ac:chgData name="SANCHEZ, Ana Belen" userId="edb0bad4-5524-496f-a7b2-a7b260c9d378" providerId="ADAL" clId="{46E80352-2427-413C-A96B-B5680A74A93F}" dt="2020-02-13T11:52:02.485" v="1620" actId="1076"/>
          <ac:grpSpMkLst>
            <pc:docMk/>
            <pc:sldMk cId="3157280742" sldId="300"/>
            <ac:grpSpMk id="36" creationId="{0250EB84-CEBA-49F9-BB5A-57FF4C36503D}"/>
          </ac:grpSpMkLst>
        </pc:grpChg>
        <pc:grpChg chg="add del mod">
          <ac:chgData name="SANCHEZ, Ana Belen" userId="edb0bad4-5524-496f-a7b2-a7b260c9d378" providerId="ADAL" clId="{46E80352-2427-413C-A96B-B5680A74A93F}" dt="2020-02-13T11:52:02.704" v="1621"/>
          <ac:grpSpMkLst>
            <pc:docMk/>
            <pc:sldMk cId="3157280742" sldId="300"/>
            <ac:grpSpMk id="44" creationId="{DFFDCE79-F587-4B7F-A9D9-25E5652ED692}"/>
          </ac:grpSpMkLst>
        </pc:grpChg>
        <pc:grpChg chg="mod">
          <ac:chgData name="SANCHEZ, Ana Belen" userId="edb0bad4-5524-496f-a7b2-a7b260c9d378" providerId="ADAL" clId="{46E80352-2427-413C-A96B-B5680A74A93F}" dt="2020-02-13T11:52:02.485" v="1620" actId="1076"/>
          <ac:grpSpMkLst>
            <pc:docMk/>
            <pc:sldMk cId="3157280742" sldId="300"/>
            <ac:grpSpMk id="54" creationId="{F335027B-CFF0-4AF9-81E4-FCFB8F8CB5E8}"/>
          </ac:grpSpMkLst>
        </pc:grpChg>
        <pc:grpChg chg="mod">
          <ac:chgData name="SANCHEZ, Ana Belen" userId="edb0bad4-5524-496f-a7b2-a7b260c9d378" providerId="ADAL" clId="{46E80352-2427-413C-A96B-B5680A74A93F}" dt="2020-02-13T11:04:29.660" v="1544" actId="1076"/>
          <ac:grpSpMkLst>
            <pc:docMk/>
            <pc:sldMk cId="3157280742" sldId="300"/>
            <ac:grpSpMk id="60" creationId="{CD7E46C5-60D6-4BAD-B98B-8E12D1276ED3}"/>
          </ac:grpSpMkLst>
        </pc:grpChg>
        <pc:grpChg chg="mod">
          <ac:chgData name="SANCHEZ, Ana Belen" userId="edb0bad4-5524-496f-a7b2-a7b260c9d378" providerId="ADAL" clId="{46E80352-2427-413C-A96B-B5680A74A93F}" dt="2020-02-13T11:52:02.485" v="1620" actId="1076"/>
          <ac:grpSpMkLst>
            <pc:docMk/>
            <pc:sldMk cId="3157280742" sldId="300"/>
            <ac:grpSpMk id="66" creationId="{BDA23252-102D-465E-9C2D-45A5E9BFDEDE}"/>
          </ac:grpSpMkLst>
        </pc:grpChg>
        <pc:grpChg chg="add del mod">
          <ac:chgData name="SANCHEZ, Ana Belen" userId="edb0bad4-5524-496f-a7b2-a7b260c9d378" providerId="ADAL" clId="{46E80352-2427-413C-A96B-B5680A74A93F}" dt="2020-02-13T11:52:02.704" v="1621"/>
          <ac:grpSpMkLst>
            <pc:docMk/>
            <pc:sldMk cId="3157280742" sldId="300"/>
            <ac:grpSpMk id="80" creationId="{A2AACF68-A0FA-4B83-8FE8-72ADB9637D15}"/>
          </ac:grpSpMkLst>
        </pc:grpChg>
        <pc:grpChg chg="mod">
          <ac:chgData name="SANCHEZ, Ana Belen" userId="edb0bad4-5524-496f-a7b2-a7b260c9d378" providerId="ADAL" clId="{46E80352-2427-413C-A96B-B5680A74A93F}" dt="2020-02-13T11:52:02.485" v="1620" actId="1076"/>
          <ac:grpSpMkLst>
            <pc:docMk/>
            <pc:sldMk cId="3157280742" sldId="300"/>
            <ac:grpSpMk id="82" creationId="{6D582251-699D-44AA-ABCF-AB59B780968B}"/>
          </ac:grpSpMkLst>
        </pc:grpChg>
        <pc:grpChg chg="mod">
          <ac:chgData name="SANCHEZ, Ana Belen" userId="edb0bad4-5524-496f-a7b2-a7b260c9d378" providerId="ADAL" clId="{46E80352-2427-413C-A96B-B5680A74A93F}" dt="2020-02-13T11:52:02.485" v="1620" actId="1076"/>
          <ac:grpSpMkLst>
            <pc:docMk/>
            <pc:sldMk cId="3157280742" sldId="300"/>
            <ac:grpSpMk id="85" creationId="{8AEE5284-EA10-43FC-99EC-8DA5A24E89A8}"/>
          </ac:grpSpMkLst>
        </pc:grpChg>
        <pc:grpChg chg="add mod">
          <ac:chgData name="SANCHEZ, Ana Belen" userId="edb0bad4-5524-496f-a7b2-a7b260c9d378" providerId="ADAL" clId="{46E80352-2427-413C-A96B-B5680A74A93F}" dt="2020-02-13T12:07:38.058" v="1703" actId="12788"/>
          <ac:grpSpMkLst>
            <pc:docMk/>
            <pc:sldMk cId="3157280742" sldId="300"/>
            <ac:grpSpMk id="90" creationId="{CAB5AB80-1D70-4727-BBB3-87D713C7D3AB}"/>
          </ac:grpSpMkLst>
        </pc:grpChg>
        <pc:grpChg chg="mod">
          <ac:chgData name="SANCHEZ, Ana Belen" userId="edb0bad4-5524-496f-a7b2-a7b260c9d378" providerId="ADAL" clId="{46E80352-2427-413C-A96B-B5680A74A93F}" dt="2020-02-13T12:07:38.058" v="1703" actId="12788"/>
          <ac:grpSpMkLst>
            <pc:docMk/>
            <pc:sldMk cId="3157280742" sldId="300"/>
            <ac:grpSpMk id="92" creationId="{8EF7DC1F-B473-4C91-B100-9BC97B3407C1}"/>
          </ac:grpSpMkLst>
        </pc:grpChg>
        <pc:grpChg chg="add mod">
          <ac:chgData name="SANCHEZ, Ana Belen" userId="edb0bad4-5524-496f-a7b2-a7b260c9d378" providerId="ADAL" clId="{46E80352-2427-413C-A96B-B5680A74A93F}" dt="2020-02-13T12:07:14.478" v="1699" actId="12788"/>
          <ac:grpSpMkLst>
            <pc:docMk/>
            <pc:sldMk cId="3157280742" sldId="300"/>
            <ac:grpSpMk id="100" creationId="{077E4A73-F9B3-4887-8898-FCCA3F16CD56}"/>
          </ac:grpSpMkLst>
        </pc:grpChg>
        <pc:grpChg chg="mod">
          <ac:chgData name="SANCHEZ, Ana Belen" userId="edb0bad4-5524-496f-a7b2-a7b260c9d378" providerId="ADAL" clId="{46E80352-2427-413C-A96B-B5680A74A93F}" dt="2020-02-13T12:07:14.478" v="1699" actId="12788"/>
          <ac:grpSpMkLst>
            <pc:docMk/>
            <pc:sldMk cId="3157280742" sldId="300"/>
            <ac:grpSpMk id="102" creationId="{CD2FE0B4-9A04-49A2-954E-1129B005C541}"/>
          </ac:grpSpMkLst>
        </pc:grpChg>
        <pc:grpChg chg="mod">
          <ac:chgData name="SANCHEZ, Ana Belen" userId="edb0bad4-5524-496f-a7b2-a7b260c9d378" providerId="ADAL" clId="{46E80352-2427-413C-A96B-B5680A74A93F}" dt="2020-02-13T12:00:17.449" v="1636" actId="408"/>
          <ac:grpSpMkLst>
            <pc:docMk/>
            <pc:sldMk cId="3157280742" sldId="300"/>
            <ac:grpSpMk id="104" creationId="{22B4F6C1-435F-4DF1-A588-AFD3B563D3F7}"/>
          </ac:grpSpMkLst>
        </pc:grpChg>
        <pc:grpChg chg="add mod">
          <ac:chgData name="SANCHEZ, Ana Belen" userId="edb0bad4-5524-496f-a7b2-a7b260c9d378" providerId="ADAL" clId="{46E80352-2427-413C-A96B-B5680A74A93F}" dt="2020-02-13T14:00:49.697" v="2077" actId="1076"/>
          <ac:grpSpMkLst>
            <pc:docMk/>
            <pc:sldMk cId="3157280742" sldId="300"/>
            <ac:grpSpMk id="109" creationId="{CA22942D-CC12-4B82-8C77-F2E9523D4225}"/>
          </ac:grpSpMkLst>
        </pc:grpChg>
        <pc:grpChg chg="mod">
          <ac:chgData name="SANCHEZ, Ana Belen" userId="edb0bad4-5524-496f-a7b2-a7b260c9d378" providerId="ADAL" clId="{46E80352-2427-413C-A96B-B5680A74A93F}" dt="2020-02-13T14:00:49.697" v="2077" actId="1076"/>
          <ac:grpSpMkLst>
            <pc:docMk/>
            <pc:sldMk cId="3157280742" sldId="300"/>
            <ac:grpSpMk id="111" creationId="{3985E6BF-C427-4C78-956F-86202D216D4D}"/>
          </ac:grpSpMkLst>
        </pc:grpChg>
        <pc:grpChg chg="mod">
          <ac:chgData name="SANCHEZ, Ana Belen" userId="edb0bad4-5524-496f-a7b2-a7b260c9d378" providerId="ADAL" clId="{46E80352-2427-413C-A96B-B5680A74A93F}" dt="2020-02-13T14:00:49.697" v="2077" actId="1076"/>
          <ac:grpSpMkLst>
            <pc:docMk/>
            <pc:sldMk cId="3157280742" sldId="300"/>
            <ac:grpSpMk id="113" creationId="{E264B930-9436-4205-A2D3-6D2CF8ECB165}"/>
          </ac:grpSpMkLst>
        </pc:grpChg>
        <pc:grpChg chg="add del mod">
          <ac:chgData name="SANCHEZ, Ana Belen" userId="edb0bad4-5524-496f-a7b2-a7b260c9d378" providerId="ADAL" clId="{46E80352-2427-413C-A96B-B5680A74A93F}" dt="2020-02-13T12:27:51.268" v="1776"/>
          <ac:grpSpMkLst>
            <pc:docMk/>
            <pc:sldMk cId="3157280742" sldId="300"/>
            <ac:grpSpMk id="118" creationId="{5E39DA09-3A5F-4FC4-82DF-6E22BBACFB12}"/>
          </ac:grpSpMkLst>
        </pc:grpChg>
        <pc:grpChg chg="mod">
          <ac:chgData name="SANCHEZ, Ana Belen" userId="edb0bad4-5524-496f-a7b2-a7b260c9d378" providerId="ADAL" clId="{46E80352-2427-413C-A96B-B5680A74A93F}" dt="2020-02-13T12:27:51.024" v="1775" actId="1076"/>
          <ac:grpSpMkLst>
            <pc:docMk/>
            <pc:sldMk cId="3157280742" sldId="300"/>
            <ac:grpSpMk id="120" creationId="{832A71F1-1394-45C6-A60C-2CB86CA8A33F}"/>
          </ac:grpSpMkLst>
        </pc:grpChg>
        <pc:grpChg chg="add del mod">
          <ac:chgData name="SANCHEZ, Ana Belen" userId="edb0bad4-5524-496f-a7b2-a7b260c9d378" providerId="ADAL" clId="{46E80352-2427-413C-A96B-B5680A74A93F}" dt="2020-02-13T12:27:51.268" v="1776"/>
          <ac:grpSpMkLst>
            <pc:docMk/>
            <pc:sldMk cId="3157280742" sldId="300"/>
            <ac:grpSpMk id="125" creationId="{AA37B622-8444-4BE6-9B02-962FFADA3A7A}"/>
          </ac:grpSpMkLst>
        </pc:grpChg>
        <pc:grpChg chg="mod">
          <ac:chgData name="SANCHEZ, Ana Belen" userId="edb0bad4-5524-496f-a7b2-a7b260c9d378" providerId="ADAL" clId="{46E80352-2427-413C-A96B-B5680A74A93F}" dt="2020-02-13T12:27:51.024" v="1775" actId="1076"/>
          <ac:grpSpMkLst>
            <pc:docMk/>
            <pc:sldMk cId="3157280742" sldId="300"/>
            <ac:grpSpMk id="127" creationId="{9B800E9B-31F0-4299-B7C0-1B099A60440B}"/>
          </ac:grpSpMkLst>
        </pc:grpChg>
        <pc:grpChg chg="mod">
          <ac:chgData name="SANCHEZ, Ana Belen" userId="edb0bad4-5524-496f-a7b2-a7b260c9d378" providerId="ADAL" clId="{46E80352-2427-413C-A96B-B5680A74A93F}" dt="2020-02-13T12:27:51.024" v="1775" actId="1076"/>
          <ac:grpSpMkLst>
            <pc:docMk/>
            <pc:sldMk cId="3157280742" sldId="300"/>
            <ac:grpSpMk id="129" creationId="{5B25A13B-14FB-4F08-B5BC-7146B7E5439D}"/>
          </ac:grpSpMkLst>
        </pc:grpChg>
        <pc:grpChg chg="add del mod">
          <ac:chgData name="SANCHEZ, Ana Belen" userId="edb0bad4-5524-496f-a7b2-a7b260c9d378" providerId="ADAL" clId="{46E80352-2427-413C-A96B-B5680A74A93F}" dt="2020-02-13T12:27:51.268" v="1776"/>
          <ac:grpSpMkLst>
            <pc:docMk/>
            <pc:sldMk cId="3157280742" sldId="300"/>
            <ac:grpSpMk id="137" creationId="{B7B479E6-CB07-473B-BA40-47F07B67AE46}"/>
          </ac:grpSpMkLst>
        </pc:grpChg>
        <pc:grpChg chg="mod">
          <ac:chgData name="SANCHEZ, Ana Belen" userId="edb0bad4-5524-496f-a7b2-a7b260c9d378" providerId="ADAL" clId="{46E80352-2427-413C-A96B-B5680A74A93F}" dt="2020-02-13T12:27:51.024" v="1775" actId="1076"/>
          <ac:grpSpMkLst>
            <pc:docMk/>
            <pc:sldMk cId="3157280742" sldId="300"/>
            <ac:grpSpMk id="139" creationId="{C53F113F-DD11-4AA4-BFC8-5C50231469CE}"/>
          </ac:grpSpMkLst>
        </pc:grpChg>
        <pc:grpChg chg="add del mod">
          <ac:chgData name="SANCHEZ, Ana Belen" userId="edb0bad4-5524-496f-a7b2-a7b260c9d378" providerId="ADAL" clId="{46E80352-2427-413C-A96B-B5680A74A93F}" dt="2020-02-13T12:29:07.162" v="1789"/>
          <ac:grpSpMkLst>
            <pc:docMk/>
            <pc:sldMk cId="3157280742" sldId="300"/>
            <ac:grpSpMk id="147" creationId="{ECAB6BB8-F05D-40F0-9EFB-91F99C2C8857}"/>
          </ac:grpSpMkLst>
        </pc:grpChg>
        <pc:grpChg chg="mod">
          <ac:chgData name="SANCHEZ, Ana Belen" userId="edb0bad4-5524-496f-a7b2-a7b260c9d378" providerId="ADAL" clId="{46E80352-2427-413C-A96B-B5680A74A93F}" dt="2020-02-13T12:29:06.545" v="1788" actId="1076"/>
          <ac:grpSpMkLst>
            <pc:docMk/>
            <pc:sldMk cId="3157280742" sldId="300"/>
            <ac:grpSpMk id="149" creationId="{0D8FDD8B-95E8-48FA-8BF8-8F3A7C870945}"/>
          </ac:grpSpMkLst>
        </pc:grpChg>
        <pc:grpChg chg="add del mod">
          <ac:chgData name="SANCHEZ, Ana Belen" userId="edb0bad4-5524-496f-a7b2-a7b260c9d378" providerId="ADAL" clId="{46E80352-2427-413C-A96B-B5680A74A93F}" dt="2020-02-13T12:29:07.162" v="1789"/>
          <ac:grpSpMkLst>
            <pc:docMk/>
            <pc:sldMk cId="3157280742" sldId="300"/>
            <ac:grpSpMk id="154" creationId="{5B77344D-EB34-4F13-88AE-BAF36A04850F}"/>
          </ac:grpSpMkLst>
        </pc:grpChg>
        <pc:grpChg chg="mod">
          <ac:chgData name="SANCHEZ, Ana Belen" userId="edb0bad4-5524-496f-a7b2-a7b260c9d378" providerId="ADAL" clId="{46E80352-2427-413C-A96B-B5680A74A93F}" dt="2020-02-13T12:29:06.545" v="1788" actId="1076"/>
          <ac:grpSpMkLst>
            <pc:docMk/>
            <pc:sldMk cId="3157280742" sldId="300"/>
            <ac:grpSpMk id="156" creationId="{DF75B085-407C-42DF-A63E-8402EBBE53C2}"/>
          </ac:grpSpMkLst>
        </pc:grpChg>
        <pc:grpChg chg="mod">
          <ac:chgData name="SANCHEZ, Ana Belen" userId="edb0bad4-5524-496f-a7b2-a7b260c9d378" providerId="ADAL" clId="{46E80352-2427-413C-A96B-B5680A74A93F}" dt="2020-02-13T12:29:06.545" v="1788" actId="1076"/>
          <ac:grpSpMkLst>
            <pc:docMk/>
            <pc:sldMk cId="3157280742" sldId="300"/>
            <ac:grpSpMk id="158" creationId="{F35ADC96-1A67-49D2-BE32-7531A1F7F5B3}"/>
          </ac:grpSpMkLst>
        </pc:grpChg>
        <pc:grpChg chg="add del mod">
          <ac:chgData name="SANCHEZ, Ana Belen" userId="edb0bad4-5524-496f-a7b2-a7b260c9d378" providerId="ADAL" clId="{46E80352-2427-413C-A96B-B5680A74A93F}" dt="2020-02-13T12:29:07.162" v="1789"/>
          <ac:grpSpMkLst>
            <pc:docMk/>
            <pc:sldMk cId="3157280742" sldId="300"/>
            <ac:grpSpMk id="166" creationId="{EFC4CFDF-6696-481D-BF3E-5555F59B136A}"/>
          </ac:grpSpMkLst>
        </pc:grpChg>
        <pc:grpChg chg="mod">
          <ac:chgData name="SANCHEZ, Ana Belen" userId="edb0bad4-5524-496f-a7b2-a7b260c9d378" providerId="ADAL" clId="{46E80352-2427-413C-A96B-B5680A74A93F}" dt="2020-02-13T12:29:06.545" v="1788" actId="1076"/>
          <ac:grpSpMkLst>
            <pc:docMk/>
            <pc:sldMk cId="3157280742" sldId="300"/>
            <ac:grpSpMk id="168" creationId="{CC374D96-14D2-4A1C-9825-2BBF0BF8B82A}"/>
          </ac:grpSpMkLst>
        </pc:grpChg>
        <pc:grpChg chg="add del mod">
          <ac:chgData name="SANCHEZ, Ana Belen" userId="edb0bad4-5524-496f-a7b2-a7b260c9d378" providerId="ADAL" clId="{46E80352-2427-413C-A96B-B5680A74A93F}" dt="2020-02-13T12:31:16.445" v="1807"/>
          <ac:grpSpMkLst>
            <pc:docMk/>
            <pc:sldMk cId="3157280742" sldId="300"/>
            <ac:grpSpMk id="176" creationId="{3B7AE210-AFCA-4422-95ED-F2ADFD69DFD4}"/>
          </ac:grpSpMkLst>
        </pc:grpChg>
        <pc:grpChg chg="mod">
          <ac:chgData name="SANCHEZ, Ana Belen" userId="edb0bad4-5524-496f-a7b2-a7b260c9d378" providerId="ADAL" clId="{46E80352-2427-413C-A96B-B5680A74A93F}" dt="2020-02-13T12:31:16.192" v="1806" actId="1076"/>
          <ac:grpSpMkLst>
            <pc:docMk/>
            <pc:sldMk cId="3157280742" sldId="300"/>
            <ac:grpSpMk id="178" creationId="{BC57B595-7362-4C81-A921-7FAAE943A332}"/>
          </ac:grpSpMkLst>
        </pc:grpChg>
        <pc:grpChg chg="add del mod">
          <ac:chgData name="SANCHEZ, Ana Belen" userId="edb0bad4-5524-496f-a7b2-a7b260c9d378" providerId="ADAL" clId="{46E80352-2427-413C-A96B-B5680A74A93F}" dt="2020-02-13T12:31:16.445" v="1807"/>
          <ac:grpSpMkLst>
            <pc:docMk/>
            <pc:sldMk cId="3157280742" sldId="300"/>
            <ac:grpSpMk id="183" creationId="{C6F2D0FA-0D1F-4270-906C-1BFCC2A039C4}"/>
          </ac:grpSpMkLst>
        </pc:grpChg>
        <pc:grpChg chg="mod">
          <ac:chgData name="SANCHEZ, Ana Belen" userId="edb0bad4-5524-496f-a7b2-a7b260c9d378" providerId="ADAL" clId="{46E80352-2427-413C-A96B-B5680A74A93F}" dt="2020-02-13T12:31:16.192" v="1806" actId="1076"/>
          <ac:grpSpMkLst>
            <pc:docMk/>
            <pc:sldMk cId="3157280742" sldId="300"/>
            <ac:grpSpMk id="185" creationId="{BF23FA8F-A348-40FF-9444-EC40093B031F}"/>
          </ac:grpSpMkLst>
        </pc:grpChg>
        <pc:grpChg chg="mod">
          <ac:chgData name="SANCHEZ, Ana Belen" userId="edb0bad4-5524-496f-a7b2-a7b260c9d378" providerId="ADAL" clId="{46E80352-2427-413C-A96B-B5680A74A93F}" dt="2020-02-13T12:31:16.192" v="1806" actId="1076"/>
          <ac:grpSpMkLst>
            <pc:docMk/>
            <pc:sldMk cId="3157280742" sldId="300"/>
            <ac:grpSpMk id="187" creationId="{E493190B-4161-499F-8D02-6DEAE1BD2AE7}"/>
          </ac:grpSpMkLst>
        </pc:grpChg>
        <pc:grpChg chg="add del mod">
          <ac:chgData name="SANCHEZ, Ana Belen" userId="edb0bad4-5524-496f-a7b2-a7b260c9d378" providerId="ADAL" clId="{46E80352-2427-413C-A96B-B5680A74A93F}" dt="2020-02-13T12:31:16.445" v="1807"/>
          <ac:grpSpMkLst>
            <pc:docMk/>
            <pc:sldMk cId="3157280742" sldId="300"/>
            <ac:grpSpMk id="195" creationId="{1F84AF78-AB03-4ADE-ABB0-C3D5D6C99BCB}"/>
          </ac:grpSpMkLst>
        </pc:grpChg>
        <pc:grpChg chg="mod">
          <ac:chgData name="SANCHEZ, Ana Belen" userId="edb0bad4-5524-496f-a7b2-a7b260c9d378" providerId="ADAL" clId="{46E80352-2427-413C-A96B-B5680A74A93F}" dt="2020-02-13T12:31:16.192" v="1806" actId="1076"/>
          <ac:grpSpMkLst>
            <pc:docMk/>
            <pc:sldMk cId="3157280742" sldId="300"/>
            <ac:grpSpMk id="197" creationId="{CF376BEC-CA39-4270-9B39-1CD7E4878D92}"/>
          </ac:grpSpMkLst>
        </pc:grpChg>
        <pc:grpChg chg="add mod">
          <ac:chgData name="SANCHEZ, Ana Belen" userId="edb0bad4-5524-496f-a7b2-a7b260c9d378" providerId="ADAL" clId="{46E80352-2427-413C-A96B-B5680A74A93F}" dt="2020-02-13T12:35:07.030" v="1834" actId="1076"/>
          <ac:grpSpMkLst>
            <pc:docMk/>
            <pc:sldMk cId="3157280742" sldId="300"/>
            <ac:grpSpMk id="205" creationId="{51F02255-B1D6-4038-AF37-C263AD09DFEB}"/>
          </ac:grpSpMkLst>
        </pc:grpChg>
        <pc:grpChg chg="mod">
          <ac:chgData name="SANCHEZ, Ana Belen" userId="edb0bad4-5524-496f-a7b2-a7b260c9d378" providerId="ADAL" clId="{46E80352-2427-413C-A96B-B5680A74A93F}" dt="2020-02-13T12:35:07.030" v="1834" actId="1076"/>
          <ac:grpSpMkLst>
            <pc:docMk/>
            <pc:sldMk cId="3157280742" sldId="300"/>
            <ac:grpSpMk id="207" creationId="{BB3764A9-CEBA-4687-BBEF-B788561CFAE4}"/>
          </ac:grpSpMkLst>
        </pc:grpChg>
        <pc:grpChg chg="add mod">
          <ac:chgData name="SANCHEZ, Ana Belen" userId="edb0bad4-5524-496f-a7b2-a7b260c9d378" providerId="ADAL" clId="{46E80352-2427-413C-A96B-B5680A74A93F}" dt="2020-02-13T14:01:13.462" v="2081" actId="14100"/>
          <ac:grpSpMkLst>
            <pc:docMk/>
            <pc:sldMk cId="3157280742" sldId="300"/>
            <ac:grpSpMk id="212" creationId="{2BEAD0AE-7F4A-49B1-A640-74889FE468BC}"/>
          </ac:grpSpMkLst>
        </pc:grpChg>
        <pc:grpChg chg="mod">
          <ac:chgData name="SANCHEZ, Ana Belen" userId="edb0bad4-5524-496f-a7b2-a7b260c9d378" providerId="ADAL" clId="{46E80352-2427-413C-A96B-B5680A74A93F}" dt="2020-02-13T14:01:13.462" v="2081" actId="14100"/>
          <ac:grpSpMkLst>
            <pc:docMk/>
            <pc:sldMk cId="3157280742" sldId="300"/>
            <ac:grpSpMk id="214" creationId="{E2D7F6E5-3640-4002-9961-9B41F2F370A5}"/>
          </ac:grpSpMkLst>
        </pc:grpChg>
        <pc:grpChg chg="mod">
          <ac:chgData name="SANCHEZ, Ana Belen" userId="edb0bad4-5524-496f-a7b2-a7b260c9d378" providerId="ADAL" clId="{46E80352-2427-413C-A96B-B5680A74A93F}" dt="2020-02-13T14:01:13.462" v="2081" actId="14100"/>
          <ac:grpSpMkLst>
            <pc:docMk/>
            <pc:sldMk cId="3157280742" sldId="300"/>
            <ac:grpSpMk id="216" creationId="{1A32B937-550F-4AFB-9F6E-6390A345BD18}"/>
          </ac:grpSpMkLst>
        </pc:grpChg>
        <pc:grpChg chg="add mod">
          <ac:chgData name="SANCHEZ, Ana Belen" userId="edb0bad4-5524-496f-a7b2-a7b260c9d378" providerId="ADAL" clId="{46E80352-2427-413C-A96B-B5680A74A93F}" dt="2020-02-13T12:35:07.030" v="1834" actId="1076"/>
          <ac:grpSpMkLst>
            <pc:docMk/>
            <pc:sldMk cId="3157280742" sldId="300"/>
            <ac:grpSpMk id="224" creationId="{B4D81E69-5975-4734-8785-47C612096D45}"/>
          </ac:grpSpMkLst>
        </pc:grpChg>
        <pc:grpChg chg="mod">
          <ac:chgData name="SANCHEZ, Ana Belen" userId="edb0bad4-5524-496f-a7b2-a7b260c9d378" providerId="ADAL" clId="{46E80352-2427-413C-A96B-B5680A74A93F}" dt="2020-02-13T12:35:07.030" v="1834" actId="1076"/>
          <ac:grpSpMkLst>
            <pc:docMk/>
            <pc:sldMk cId="3157280742" sldId="300"/>
            <ac:grpSpMk id="226" creationId="{8E192B68-7161-4D23-A3F2-315ADB6EACEE}"/>
          </ac:grpSpMkLst>
        </pc:grpChg>
        <pc:grpChg chg="add del mod">
          <ac:chgData name="SANCHEZ, Ana Belen" userId="edb0bad4-5524-496f-a7b2-a7b260c9d378" providerId="ADAL" clId="{46E80352-2427-413C-A96B-B5680A74A93F}" dt="2020-02-13T13:59:54.774" v="2069" actId="478"/>
          <ac:grpSpMkLst>
            <pc:docMk/>
            <pc:sldMk cId="3157280742" sldId="300"/>
            <ac:grpSpMk id="234" creationId="{9F20FB0E-B7DC-48DF-8381-2E8715A0F192}"/>
          </ac:grpSpMkLst>
        </pc:grpChg>
        <pc:grpChg chg="add del mod">
          <ac:chgData name="SANCHEZ, Ana Belen" userId="edb0bad4-5524-496f-a7b2-a7b260c9d378" providerId="ADAL" clId="{46E80352-2427-413C-A96B-B5680A74A93F}" dt="2020-02-13T13:59:50.711" v="2068" actId="478"/>
          <ac:grpSpMkLst>
            <pc:docMk/>
            <pc:sldMk cId="3157280742" sldId="300"/>
            <ac:grpSpMk id="237" creationId="{D0F0BFBC-2622-41A5-B08A-8FA875766E3D}"/>
          </ac:grpSpMkLst>
        </pc:grpChg>
        <pc:grpChg chg="add del mod">
          <ac:chgData name="SANCHEZ, Ana Belen" userId="edb0bad4-5524-496f-a7b2-a7b260c9d378" providerId="ADAL" clId="{46E80352-2427-413C-A96B-B5680A74A93F}" dt="2020-02-13T13:59:47.451" v="2067" actId="478"/>
          <ac:grpSpMkLst>
            <pc:docMk/>
            <pc:sldMk cId="3157280742" sldId="300"/>
            <ac:grpSpMk id="240" creationId="{645833A7-6CB8-46F8-AC49-38FFF192D1E3}"/>
          </ac:grpSpMkLst>
        </pc:grpChg>
        <pc:grpChg chg="add del mod">
          <ac:chgData name="SANCHEZ, Ana Belen" userId="edb0bad4-5524-496f-a7b2-a7b260c9d378" providerId="ADAL" clId="{46E80352-2427-413C-A96B-B5680A74A93F}" dt="2020-02-13T14:25:01.822" v="2219"/>
          <ac:grpSpMkLst>
            <pc:docMk/>
            <pc:sldMk cId="3157280742" sldId="300"/>
            <ac:grpSpMk id="243" creationId="{9FBCF3AE-46C0-4FE3-9EC6-C672C8AC3779}"/>
          </ac:grpSpMkLst>
        </pc:grpChg>
        <pc:grpChg chg="add del mod">
          <ac:chgData name="SANCHEZ, Ana Belen" userId="edb0bad4-5524-496f-a7b2-a7b260c9d378" providerId="ADAL" clId="{46E80352-2427-413C-A96B-B5680A74A93F}" dt="2020-02-13T14:25:01.822" v="2219"/>
          <ac:grpSpMkLst>
            <pc:docMk/>
            <pc:sldMk cId="3157280742" sldId="300"/>
            <ac:grpSpMk id="246" creationId="{232EC746-3D52-4F2A-9B9F-9B1409040220}"/>
          </ac:grpSpMkLst>
        </pc:grpChg>
        <pc:grpChg chg="add del mod">
          <ac:chgData name="SANCHEZ, Ana Belen" userId="edb0bad4-5524-496f-a7b2-a7b260c9d378" providerId="ADAL" clId="{46E80352-2427-413C-A96B-B5680A74A93F}" dt="2020-02-13T14:25:01.822" v="2219"/>
          <ac:grpSpMkLst>
            <pc:docMk/>
            <pc:sldMk cId="3157280742" sldId="300"/>
            <ac:grpSpMk id="249" creationId="{A1FC2883-0338-448B-AE24-6E0855BAE162}"/>
          </ac:grpSpMkLst>
        </pc:grpChg>
        <pc:grpChg chg="add mod">
          <ac:chgData name="SANCHEZ, Ana Belen" userId="edb0bad4-5524-496f-a7b2-a7b260c9d378" providerId="ADAL" clId="{46E80352-2427-413C-A96B-B5680A74A93F}" dt="2020-02-13T14:29:53.463" v="2253" actId="1076"/>
          <ac:grpSpMkLst>
            <pc:docMk/>
            <pc:sldMk cId="3157280742" sldId="300"/>
            <ac:grpSpMk id="254" creationId="{C7BB6501-283A-4956-ACBE-2F5811D16BEC}"/>
          </ac:grpSpMkLst>
        </pc:grpChg>
        <pc:grpChg chg="add mod">
          <ac:chgData name="SANCHEZ, Ana Belen" userId="edb0bad4-5524-496f-a7b2-a7b260c9d378" providerId="ADAL" clId="{46E80352-2427-413C-A96B-B5680A74A93F}" dt="2020-02-13T14:29:53.463" v="2253" actId="1076"/>
          <ac:grpSpMkLst>
            <pc:docMk/>
            <pc:sldMk cId="3157280742" sldId="300"/>
            <ac:grpSpMk id="257" creationId="{399A397B-DA1E-4C67-A67B-98BC3C24BE87}"/>
          </ac:grpSpMkLst>
        </pc:grpChg>
        <pc:grpChg chg="add mod">
          <ac:chgData name="SANCHEZ, Ana Belen" userId="edb0bad4-5524-496f-a7b2-a7b260c9d378" providerId="ADAL" clId="{46E80352-2427-413C-A96B-B5680A74A93F}" dt="2020-02-13T14:29:53.463" v="2253" actId="1076"/>
          <ac:grpSpMkLst>
            <pc:docMk/>
            <pc:sldMk cId="3157280742" sldId="300"/>
            <ac:grpSpMk id="260" creationId="{0B6983E2-DA14-4E34-8560-F37A11142773}"/>
          </ac:grpSpMkLst>
        </pc:grpChg>
        <pc:picChg chg="add mod ord">
          <ac:chgData name="SANCHEZ, Ana Belen" userId="edb0bad4-5524-496f-a7b2-a7b260c9d378" providerId="ADAL" clId="{46E80352-2427-413C-A96B-B5680A74A93F}" dt="2020-02-13T22:03:24.606" v="4005" actId="1076"/>
          <ac:picMkLst>
            <pc:docMk/>
            <pc:sldMk cId="3157280742" sldId="300"/>
            <ac:picMk id="2" creationId="{13BFCF08-0F60-48E1-88E5-773E59C60057}"/>
          </ac:picMkLst>
        </pc:picChg>
        <pc:picChg chg="del">
          <ac:chgData name="SANCHEZ, Ana Belen" userId="edb0bad4-5524-496f-a7b2-a7b260c9d378" providerId="ADAL" clId="{46E80352-2427-413C-A96B-B5680A74A93F}" dt="2020-02-13T11:04:32.237" v="1545" actId="478"/>
          <ac:picMkLst>
            <pc:docMk/>
            <pc:sldMk cId="3157280742" sldId="300"/>
            <ac:picMk id="67" creationId="{2596D634-9EC1-4CE8-81EC-B1F2AD996DFC}"/>
          </ac:picMkLst>
        </pc:picChg>
        <pc:picChg chg="del">
          <ac:chgData name="SANCHEZ, Ana Belen" userId="edb0bad4-5524-496f-a7b2-a7b260c9d378" providerId="ADAL" clId="{46E80352-2427-413C-A96B-B5680A74A93F}" dt="2020-02-13T11:04:34.355" v="1546" actId="478"/>
          <ac:picMkLst>
            <pc:docMk/>
            <pc:sldMk cId="3157280742" sldId="300"/>
            <ac:picMk id="68" creationId="{930D52DD-0E2D-4514-B683-E6C459DCD260}"/>
          </ac:picMkLst>
        </pc:picChg>
        <pc:picChg chg="mod">
          <ac:chgData name="SANCHEZ, Ana Belen" userId="edb0bad4-5524-496f-a7b2-a7b260c9d378" providerId="ADAL" clId="{46E80352-2427-413C-A96B-B5680A74A93F}" dt="2020-02-13T13:59:02.795" v="2063" actId="14100"/>
          <ac:picMkLst>
            <pc:docMk/>
            <pc:sldMk cId="3157280742" sldId="300"/>
            <ac:picMk id="239" creationId="{24BCB649-F086-4221-8D8B-B3DB76D5048A}"/>
          </ac:picMkLst>
        </pc:picChg>
        <pc:picChg chg="mod">
          <ac:chgData name="SANCHEZ, Ana Belen" userId="edb0bad4-5524-496f-a7b2-a7b260c9d378" providerId="ADAL" clId="{46E80352-2427-413C-A96B-B5680A74A93F}" dt="2020-02-13T13:58:19.614" v="2049" actId="1076"/>
          <ac:picMkLst>
            <pc:docMk/>
            <pc:sldMk cId="3157280742" sldId="300"/>
            <ac:picMk id="242" creationId="{8B46FEF3-3751-48E6-89F1-39A9058859FE}"/>
          </ac:picMkLst>
        </pc:picChg>
        <pc:picChg chg="add del mod">
          <ac:chgData name="SANCHEZ, Ana Belen" userId="edb0bad4-5524-496f-a7b2-a7b260c9d378" providerId="ADAL" clId="{46E80352-2427-413C-A96B-B5680A74A93F}" dt="2020-02-13T12:43:07.254" v="1846"/>
          <ac:picMkLst>
            <pc:docMk/>
            <pc:sldMk cId="3157280742" sldId="300"/>
            <ac:picMk id="21506" creationId="{CC335820-F41F-4DD8-AE43-057F9DDA7A14}"/>
          </ac:picMkLst>
        </pc:picChg>
      </pc:sldChg>
      <pc:sldChg chg="addSp delSp modSp add del ord">
        <pc:chgData name="SANCHEZ, Ana Belen" userId="edb0bad4-5524-496f-a7b2-a7b260c9d378" providerId="ADAL" clId="{46E80352-2427-413C-A96B-B5680A74A93F}" dt="2020-02-13T23:47:59.941" v="4826" actId="2696"/>
        <pc:sldMkLst>
          <pc:docMk/>
          <pc:sldMk cId="4145758050" sldId="301"/>
        </pc:sldMkLst>
        <pc:spChg chg="add mod">
          <ac:chgData name="SANCHEZ, Ana Belen" userId="edb0bad4-5524-496f-a7b2-a7b260c9d378" providerId="ADAL" clId="{46E80352-2427-413C-A96B-B5680A74A93F}" dt="2020-02-13T12:34:07.626" v="1827" actId="113"/>
          <ac:spMkLst>
            <pc:docMk/>
            <pc:sldMk cId="4145758050" sldId="301"/>
            <ac:spMk id="2" creationId="{E46068BB-1719-4B6B-A1D7-6A6BF5018C36}"/>
          </ac:spMkLst>
        </pc:spChg>
        <pc:spChg chg="add mod">
          <ac:chgData name="SANCHEZ, Ana Belen" userId="edb0bad4-5524-496f-a7b2-a7b260c9d378" providerId="ADAL" clId="{46E80352-2427-413C-A96B-B5680A74A93F}" dt="2020-02-13T12:33:59.591" v="1825" actId="164"/>
          <ac:spMkLst>
            <pc:docMk/>
            <pc:sldMk cId="4145758050" sldId="301"/>
            <ac:spMk id="3" creationId="{0C56ECA6-0E3A-462A-BA95-E32DAB424CC5}"/>
          </ac:spMkLst>
        </pc:spChg>
        <pc:spChg chg="add mod">
          <ac:chgData name="SANCHEZ, Ana Belen" userId="edb0bad4-5524-496f-a7b2-a7b260c9d378" providerId="ADAL" clId="{46E80352-2427-413C-A96B-B5680A74A93F}" dt="2020-02-13T12:34:07.626" v="1827" actId="113"/>
          <ac:spMkLst>
            <pc:docMk/>
            <pc:sldMk cId="4145758050" sldId="301"/>
            <ac:spMk id="4" creationId="{A3749C29-CD17-46AD-9415-94E27664834F}"/>
          </ac:spMkLst>
        </pc:spChg>
        <pc:spChg chg="mod">
          <ac:chgData name="SANCHEZ, Ana Belen" userId="edb0bad4-5524-496f-a7b2-a7b260c9d378" providerId="ADAL" clId="{46E80352-2427-413C-A96B-B5680A74A93F}" dt="2020-02-13T12:10:22.991" v="1711" actId="1076"/>
          <ac:spMkLst>
            <pc:docMk/>
            <pc:sldMk cId="4145758050" sldId="301"/>
            <ac:spMk id="51" creationId="{9B636C84-7784-413E-9943-CDD89B67CB8B}"/>
          </ac:spMkLst>
        </pc:spChg>
        <pc:spChg chg="mod">
          <ac:chgData name="SANCHEZ, Ana Belen" userId="edb0bad4-5524-496f-a7b2-a7b260c9d378" providerId="ADAL" clId="{46E80352-2427-413C-A96B-B5680A74A93F}" dt="2020-02-13T12:34:32.454" v="1832" actId="14100"/>
          <ac:spMkLst>
            <pc:docMk/>
            <pc:sldMk cId="4145758050" sldId="301"/>
            <ac:spMk id="53" creationId="{27A0A18E-E620-4CA1-A74E-5EF3DDE7CFB9}"/>
          </ac:spMkLst>
        </pc:spChg>
        <pc:spChg chg="mod">
          <ac:chgData name="SANCHEZ, Ana Belen" userId="edb0bad4-5524-496f-a7b2-a7b260c9d378" providerId="ADAL" clId="{46E80352-2427-413C-A96B-B5680A74A93F}" dt="2020-02-13T12:17:57.723" v="1730" actId="207"/>
          <ac:spMkLst>
            <pc:docMk/>
            <pc:sldMk cId="4145758050" sldId="301"/>
            <ac:spMk id="55" creationId="{7425888C-B73A-4C63-80DC-43192A8DB5C0}"/>
          </ac:spMkLst>
        </pc:spChg>
        <pc:spChg chg="mod">
          <ac:chgData name="SANCHEZ, Ana Belen" userId="edb0bad4-5524-496f-a7b2-a7b260c9d378" providerId="ADAL" clId="{46E80352-2427-413C-A96B-B5680A74A93F}" dt="2020-02-13T12:34:16.221" v="1829" actId="14100"/>
          <ac:spMkLst>
            <pc:docMk/>
            <pc:sldMk cId="4145758050" sldId="301"/>
            <ac:spMk id="58" creationId="{1B15FA82-AAAA-4817-A7C5-60CCFDFC5086}"/>
          </ac:spMkLst>
        </pc:spChg>
        <pc:spChg chg="mod">
          <ac:chgData name="SANCHEZ, Ana Belen" userId="edb0bad4-5524-496f-a7b2-a7b260c9d378" providerId="ADAL" clId="{46E80352-2427-413C-A96B-B5680A74A93F}" dt="2020-02-13T12:21:36.982" v="1751" actId="207"/>
          <ac:spMkLst>
            <pc:docMk/>
            <pc:sldMk cId="4145758050" sldId="301"/>
            <ac:spMk id="63" creationId="{0A35C854-56E9-44B4-B5F9-6973F3AC0B6C}"/>
          </ac:spMkLst>
        </pc:spChg>
        <pc:spChg chg="mod">
          <ac:chgData name="SANCHEZ, Ana Belen" userId="edb0bad4-5524-496f-a7b2-a7b260c9d378" providerId="ADAL" clId="{46E80352-2427-413C-A96B-B5680A74A93F}" dt="2020-02-13T12:21:43.086" v="1752" actId="208"/>
          <ac:spMkLst>
            <pc:docMk/>
            <pc:sldMk cId="4145758050" sldId="301"/>
            <ac:spMk id="64" creationId="{D8BF00A5-6D1E-4C81-83AD-CAF7B6DA8EF4}"/>
          </ac:spMkLst>
        </pc:spChg>
        <pc:spChg chg="mod">
          <ac:chgData name="SANCHEZ, Ana Belen" userId="edb0bad4-5524-496f-a7b2-a7b260c9d378" providerId="ADAL" clId="{46E80352-2427-413C-A96B-B5680A74A93F}" dt="2020-02-13T12:21:47.677" v="1754" actId="207"/>
          <ac:spMkLst>
            <pc:docMk/>
            <pc:sldMk cId="4145758050" sldId="301"/>
            <ac:spMk id="66" creationId="{3A8320CA-716C-4D8D-81F3-86995B44B8BA}"/>
          </ac:spMkLst>
        </pc:spChg>
        <pc:spChg chg="mod">
          <ac:chgData name="SANCHEZ, Ana Belen" userId="edb0bad4-5524-496f-a7b2-a7b260c9d378" providerId="ADAL" clId="{46E80352-2427-413C-A96B-B5680A74A93F}" dt="2020-02-13T12:34:19.270" v="1830" actId="14100"/>
          <ac:spMkLst>
            <pc:docMk/>
            <pc:sldMk cId="4145758050" sldId="301"/>
            <ac:spMk id="68" creationId="{C23910D2-DC7B-4EB9-9CA3-E682ED6FAF87}"/>
          </ac:spMkLst>
        </pc:spChg>
        <pc:grpChg chg="add mod">
          <ac:chgData name="SANCHEZ, Ana Belen" userId="edb0bad4-5524-496f-a7b2-a7b260c9d378" providerId="ADAL" clId="{46E80352-2427-413C-A96B-B5680A74A93F}" dt="2020-02-13T12:31:23" v="1811" actId="164"/>
          <ac:grpSpMkLst>
            <pc:docMk/>
            <pc:sldMk cId="4145758050" sldId="301"/>
            <ac:grpSpMk id="5" creationId="{C17FC71B-9078-4A40-A2AE-FC638EE4E8AA}"/>
          </ac:grpSpMkLst>
        </pc:grpChg>
        <pc:grpChg chg="add mod">
          <ac:chgData name="SANCHEZ, Ana Belen" userId="edb0bad4-5524-496f-a7b2-a7b260c9d378" providerId="ADAL" clId="{46E80352-2427-413C-A96B-B5680A74A93F}" dt="2020-02-13T12:27:52.602" v="1781" actId="164"/>
          <ac:grpSpMkLst>
            <pc:docMk/>
            <pc:sldMk cId="4145758050" sldId="301"/>
            <ac:grpSpMk id="8" creationId="{F3DDB17C-1C73-42D7-A482-506445187462}"/>
          </ac:grpSpMkLst>
        </pc:grpChg>
        <pc:grpChg chg="add mod">
          <ac:chgData name="SANCHEZ, Ana Belen" userId="edb0bad4-5524-496f-a7b2-a7b260c9d378" providerId="ADAL" clId="{46E80352-2427-413C-A96B-B5680A74A93F}" dt="2020-02-13T12:27:52.050" v="1780" actId="164"/>
          <ac:grpSpMkLst>
            <pc:docMk/>
            <pc:sldMk cId="4145758050" sldId="301"/>
            <ac:grpSpMk id="9" creationId="{47B6781E-BF7F-47A3-B84E-A6BFBC3E21D1}"/>
          </ac:grpSpMkLst>
        </pc:grpChg>
        <pc:grpChg chg="add mod">
          <ac:chgData name="SANCHEZ, Ana Belen" userId="edb0bad4-5524-496f-a7b2-a7b260c9d378" providerId="ADAL" clId="{46E80352-2427-413C-A96B-B5680A74A93F}" dt="2020-02-13T12:31:22.374" v="1810" actId="164"/>
          <ac:grpSpMkLst>
            <pc:docMk/>
            <pc:sldMk cId="4145758050" sldId="301"/>
            <ac:grpSpMk id="19" creationId="{E91ECF4E-96DB-46DE-8D2A-1CE313FF6942}"/>
          </ac:grpSpMkLst>
        </pc:grpChg>
        <pc:grpChg chg="add mod">
          <ac:chgData name="SANCHEZ, Ana Belen" userId="edb0bad4-5524-496f-a7b2-a7b260c9d378" providerId="ADAL" clId="{46E80352-2427-413C-A96B-B5680A74A93F}" dt="2020-02-13T12:31:17.735" v="1809" actId="164"/>
          <ac:grpSpMkLst>
            <pc:docMk/>
            <pc:sldMk cId="4145758050" sldId="301"/>
            <ac:grpSpMk id="20" creationId="{295B73A2-44CE-4161-9799-A4C029C2C94E}"/>
          </ac:grpSpMkLst>
        </pc:grpChg>
        <pc:grpChg chg="add mod">
          <ac:chgData name="SANCHEZ, Ana Belen" userId="edb0bad4-5524-496f-a7b2-a7b260c9d378" providerId="ADAL" clId="{46E80352-2427-413C-A96B-B5680A74A93F}" dt="2020-02-13T12:34:16.221" v="1829" actId="14100"/>
          <ac:grpSpMkLst>
            <pc:docMk/>
            <pc:sldMk cId="4145758050" sldId="301"/>
            <ac:grpSpMk id="21" creationId="{D5C14EC3-3013-4286-A6BC-98BD7F6A301E}"/>
          </ac:grpSpMkLst>
        </pc:grpChg>
        <pc:grpChg chg="add mod">
          <ac:chgData name="SANCHEZ, Ana Belen" userId="edb0bad4-5524-496f-a7b2-a7b260c9d378" providerId="ADAL" clId="{46E80352-2427-413C-A96B-B5680A74A93F}" dt="2020-02-13T12:34:09.965" v="1828" actId="14100"/>
          <ac:grpSpMkLst>
            <pc:docMk/>
            <pc:sldMk cId="4145758050" sldId="301"/>
            <ac:grpSpMk id="22" creationId="{CAE44BE9-65FA-45D6-988E-AA7BDC0F7721}"/>
          </ac:grpSpMkLst>
        </pc:grpChg>
        <pc:grpChg chg="add mod">
          <ac:chgData name="SANCHEZ, Ana Belen" userId="edb0bad4-5524-496f-a7b2-a7b260c9d378" providerId="ADAL" clId="{46E80352-2427-413C-A96B-B5680A74A93F}" dt="2020-02-13T12:34:09.965" v="1828" actId="14100"/>
          <ac:grpSpMkLst>
            <pc:docMk/>
            <pc:sldMk cId="4145758050" sldId="301"/>
            <ac:grpSpMk id="23" creationId="{2F58B4E3-60F5-49B5-A286-1049B3ADBA46}"/>
          </ac:grpSpMkLst>
        </pc:grpChg>
        <pc:grpChg chg="del">
          <ac:chgData name="SANCHEZ, Ana Belen" userId="edb0bad4-5524-496f-a7b2-a7b260c9d378" providerId="ADAL" clId="{46E80352-2427-413C-A96B-B5680A74A93F}" dt="2020-02-13T12:08:53.367" v="1708" actId="478"/>
          <ac:grpSpMkLst>
            <pc:docMk/>
            <pc:sldMk cId="4145758050" sldId="301"/>
            <ac:grpSpMk id="43" creationId="{10847C6D-19E0-4700-A9B1-07341C8E34A8}"/>
          </ac:grpSpMkLst>
        </pc:grpChg>
        <pc:grpChg chg="del">
          <ac:chgData name="SANCHEZ, Ana Belen" userId="edb0bad4-5524-496f-a7b2-a7b260c9d378" providerId="ADAL" clId="{46E80352-2427-413C-A96B-B5680A74A93F}" dt="2020-02-13T12:09:01.180" v="1709" actId="478"/>
          <ac:grpSpMkLst>
            <pc:docMk/>
            <pc:sldMk cId="4145758050" sldId="301"/>
            <ac:grpSpMk id="48" creationId="{B35E577C-AAD2-4E90-8CE3-7E0A5AE01127}"/>
          </ac:grpSpMkLst>
        </pc:grpChg>
        <pc:grpChg chg="del">
          <ac:chgData name="SANCHEZ, Ana Belen" userId="edb0bad4-5524-496f-a7b2-a7b260c9d378" providerId="ADAL" clId="{46E80352-2427-413C-A96B-B5680A74A93F}" dt="2020-02-13T12:18:07.771" v="1731" actId="478"/>
          <ac:grpSpMkLst>
            <pc:docMk/>
            <pc:sldMk cId="4145758050" sldId="301"/>
            <ac:grpSpMk id="49" creationId="{604F1BCE-5C3F-4B3B-9A97-3F55326C49E6}"/>
          </ac:grpSpMkLst>
        </pc:grpChg>
        <pc:grpChg chg="del">
          <ac:chgData name="SANCHEZ, Ana Belen" userId="edb0bad4-5524-496f-a7b2-a7b260c9d378" providerId="ADAL" clId="{46E80352-2427-413C-A96B-B5680A74A93F}" dt="2020-02-13T12:09:04.065" v="1710" actId="478"/>
          <ac:grpSpMkLst>
            <pc:docMk/>
            <pc:sldMk cId="4145758050" sldId="301"/>
            <ac:grpSpMk id="50" creationId="{9ADBB43C-1C5B-49B4-B919-00F72BA232A0}"/>
          </ac:grpSpMkLst>
        </pc:grpChg>
        <pc:grpChg chg="add mod">
          <ac:chgData name="SANCHEZ, Ana Belen" userId="edb0bad4-5524-496f-a7b2-a7b260c9d378" providerId="ADAL" clId="{46E80352-2427-413C-A96B-B5680A74A93F}" dt="2020-02-13T12:34:09.965" v="1828" actId="14100"/>
          <ac:grpSpMkLst>
            <pc:docMk/>
            <pc:sldMk cId="4145758050" sldId="301"/>
            <ac:grpSpMk id="52" creationId="{0F698510-E879-4FD0-9C18-3FBC41B3F438}"/>
          </ac:grpSpMkLst>
        </pc:grpChg>
        <pc:grpChg chg="add mod">
          <ac:chgData name="SANCHEZ, Ana Belen" userId="edb0bad4-5524-496f-a7b2-a7b260c9d378" providerId="ADAL" clId="{46E80352-2427-413C-A96B-B5680A74A93F}" dt="2020-02-13T12:34:16.221" v="1829" actId="14100"/>
          <ac:grpSpMkLst>
            <pc:docMk/>
            <pc:sldMk cId="4145758050" sldId="301"/>
            <ac:grpSpMk id="57" creationId="{A809CCE8-4E20-40EC-9162-EA350875C5DA}"/>
          </ac:grpSpMkLst>
        </pc:grpChg>
        <pc:grpChg chg="mod">
          <ac:chgData name="SANCHEZ, Ana Belen" userId="edb0bad4-5524-496f-a7b2-a7b260c9d378" providerId="ADAL" clId="{46E80352-2427-413C-A96B-B5680A74A93F}" dt="2020-02-13T12:34:16.221" v="1829" actId="14100"/>
          <ac:grpSpMkLst>
            <pc:docMk/>
            <pc:sldMk cId="4145758050" sldId="301"/>
            <ac:grpSpMk id="59" creationId="{F0101DA5-2C90-424C-BCFA-301D05DD7EFF}"/>
          </ac:grpSpMkLst>
        </pc:grpChg>
        <pc:grpChg chg="add mod">
          <ac:chgData name="SANCHEZ, Ana Belen" userId="edb0bad4-5524-496f-a7b2-a7b260c9d378" providerId="ADAL" clId="{46E80352-2427-413C-A96B-B5680A74A93F}" dt="2020-02-13T12:34:09.965" v="1828" actId="14100"/>
          <ac:grpSpMkLst>
            <pc:docMk/>
            <pc:sldMk cId="4145758050" sldId="301"/>
            <ac:grpSpMk id="67" creationId="{C4FA4718-4A0D-446C-B10A-F7C39C066707}"/>
          </ac:grpSpMkLst>
        </pc:grpChg>
      </pc:sldChg>
      <pc:sldChg chg="addSp delSp modSp add modTransition">
        <pc:chgData name="SANCHEZ, Ana Belen" userId="edb0bad4-5524-496f-a7b2-a7b260c9d378" providerId="ADAL" clId="{46E80352-2427-413C-A96B-B5680A74A93F}" dt="2020-02-13T23:48:39.178" v="4855"/>
        <pc:sldMkLst>
          <pc:docMk/>
          <pc:sldMk cId="1401223696" sldId="302"/>
        </pc:sldMkLst>
        <pc:spChg chg="del">
          <ac:chgData name="SANCHEZ, Ana Belen" userId="edb0bad4-5524-496f-a7b2-a7b260c9d378" providerId="ADAL" clId="{46E80352-2427-413C-A96B-B5680A74A93F}" dt="2020-02-13T12:43:35.350" v="1849" actId="478"/>
          <ac:spMkLst>
            <pc:docMk/>
            <pc:sldMk cId="1401223696" sldId="302"/>
            <ac:spMk id="2" creationId="{5A6308DB-32AD-46D3-8512-29EE1250DFC0}"/>
          </ac:spMkLst>
        </pc:spChg>
        <pc:spChg chg="del">
          <ac:chgData name="SANCHEZ, Ana Belen" userId="edb0bad4-5524-496f-a7b2-a7b260c9d378" providerId="ADAL" clId="{46E80352-2427-413C-A96B-B5680A74A93F}" dt="2020-02-13T12:43:38.011" v="1850" actId="478"/>
          <ac:spMkLst>
            <pc:docMk/>
            <pc:sldMk cId="1401223696" sldId="302"/>
            <ac:spMk id="3" creationId="{8568AD53-08F0-44B8-BCC5-72CCC9ADC48C}"/>
          </ac:spMkLst>
        </pc:spChg>
        <pc:spChg chg="del">
          <ac:chgData name="SANCHEZ, Ana Belen" userId="edb0bad4-5524-496f-a7b2-a7b260c9d378" providerId="ADAL" clId="{46E80352-2427-413C-A96B-B5680A74A93F}" dt="2020-02-13T12:43:32.603" v="1848" actId="478"/>
          <ac:spMkLst>
            <pc:docMk/>
            <pc:sldMk cId="1401223696" sldId="302"/>
            <ac:spMk id="4" creationId="{5A1FFA24-48B9-4AF2-9B46-C89CF878418C}"/>
          </ac:spMkLst>
        </pc:spChg>
        <pc:spChg chg="add mod">
          <ac:chgData name="SANCHEZ, Ana Belen" userId="edb0bad4-5524-496f-a7b2-a7b260c9d378" providerId="ADAL" clId="{46E80352-2427-413C-A96B-B5680A74A93F}" dt="2020-02-13T13:51:02.231" v="2002" actId="164"/>
          <ac:spMkLst>
            <pc:docMk/>
            <pc:sldMk cId="1401223696" sldId="302"/>
            <ac:spMk id="6" creationId="{406CEC4E-6A2C-4E01-AE7D-E56E514C8683}"/>
          </ac:spMkLst>
        </pc:spChg>
        <pc:spChg chg="add mod">
          <ac:chgData name="SANCHEZ, Ana Belen" userId="edb0bad4-5524-496f-a7b2-a7b260c9d378" providerId="ADAL" clId="{46E80352-2427-413C-A96B-B5680A74A93F}" dt="2020-02-13T13:51:08.517" v="2003" actId="164"/>
          <ac:spMkLst>
            <pc:docMk/>
            <pc:sldMk cId="1401223696" sldId="302"/>
            <ac:spMk id="7" creationId="{DB94A079-ED6E-4D31-BC74-1241A5A50183}"/>
          </ac:spMkLst>
        </pc:spChg>
        <pc:spChg chg="add mod">
          <ac:chgData name="SANCHEZ, Ana Belen" userId="edb0bad4-5524-496f-a7b2-a7b260c9d378" providerId="ADAL" clId="{46E80352-2427-413C-A96B-B5680A74A93F}" dt="2020-02-13T13:52:55.167" v="2025" actId="164"/>
          <ac:spMkLst>
            <pc:docMk/>
            <pc:sldMk cId="1401223696" sldId="302"/>
            <ac:spMk id="10" creationId="{61A1CCF2-3EE2-4082-815D-015724EB22AE}"/>
          </ac:spMkLst>
        </pc:spChg>
        <pc:spChg chg="mod topLvl">
          <ac:chgData name="SANCHEZ, Ana Belen" userId="edb0bad4-5524-496f-a7b2-a7b260c9d378" providerId="ADAL" clId="{46E80352-2427-413C-A96B-B5680A74A93F}" dt="2020-02-13T14:25:24.317" v="2221" actId="12788"/>
          <ac:spMkLst>
            <pc:docMk/>
            <pc:sldMk cId="1401223696" sldId="302"/>
            <ac:spMk id="20" creationId="{5AFA2786-984B-4102-BE3F-CB255F492F39}"/>
          </ac:spMkLst>
        </pc:spChg>
        <pc:spChg chg="mod topLvl">
          <ac:chgData name="SANCHEZ, Ana Belen" userId="edb0bad4-5524-496f-a7b2-a7b260c9d378" providerId="ADAL" clId="{46E80352-2427-413C-A96B-B5680A74A93F}" dt="2020-02-13T14:27:22.667" v="2241" actId="12788"/>
          <ac:spMkLst>
            <pc:docMk/>
            <pc:sldMk cId="1401223696" sldId="302"/>
            <ac:spMk id="22" creationId="{B8DD11A5-8390-4467-96DE-7DCD56988156}"/>
          </ac:spMkLst>
        </pc:spChg>
        <pc:spChg chg="mod topLvl">
          <ac:chgData name="SANCHEZ, Ana Belen" userId="edb0bad4-5524-496f-a7b2-a7b260c9d378" providerId="ADAL" clId="{46E80352-2427-413C-A96B-B5680A74A93F}" dt="2020-02-13T14:27:13.639" v="2240" actId="12788"/>
          <ac:spMkLst>
            <pc:docMk/>
            <pc:sldMk cId="1401223696" sldId="302"/>
            <ac:spMk id="25" creationId="{1D036BB7-616C-4D1A-809B-C478BD77A9EE}"/>
          </ac:spMkLst>
        </pc:spChg>
        <pc:spChg chg="add del mod">
          <ac:chgData name="SANCHEZ, Ana Belen" userId="edb0bad4-5524-496f-a7b2-a7b260c9d378" providerId="ADAL" clId="{46E80352-2427-413C-A96B-B5680A74A93F}" dt="2020-02-13T14:21:49.332" v="2202" actId="478"/>
          <ac:spMkLst>
            <pc:docMk/>
            <pc:sldMk cId="1401223696" sldId="302"/>
            <ac:spMk id="36" creationId="{039017A1-58C0-43AF-B4A8-444A05A88128}"/>
          </ac:spMkLst>
        </pc:spChg>
        <pc:spChg chg="add mod">
          <ac:chgData name="SANCHEZ, Ana Belen" userId="edb0bad4-5524-496f-a7b2-a7b260c9d378" providerId="ADAL" clId="{46E80352-2427-413C-A96B-B5680A74A93F}" dt="2020-02-13T14:27:22.667" v="2241" actId="12788"/>
          <ac:spMkLst>
            <pc:docMk/>
            <pc:sldMk cId="1401223696" sldId="302"/>
            <ac:spMk id="37" creationId="{21CA1B7F-1184-4B45-924F-62CAA81B40CF}"/>
          </ac:spMkLst>
        </pc:spChg>
        <pc:grpChg chg="add del mod">
          <ac:chgData name="SANCHEZ, Ana Belen" userId="edb0bad4-5524-496f-a7b2-a7b260c9d378" providerId="ADAL" clId="{46E80352-2427-413C-A96B-B5680A74A93F}" dt="2020-02-13T13:53:37.472" v="2026"/>
          <ac:grpSpMkLst>
            <pc:docMk/>
            <pc:sldMk cId="1401223696" sldId="302"/>
            <ac:grpSpMk id="13" creationId="{5387ADCD-6CE6-499B-8129-476402815B23}"/>
          </ac:grpSpMkLst>
        </pc:grpChg>
        <pc:grpChg chg="add del mod">
          <ac:chgData name="SANCHEZ, Ana Belen" userId="edb0bad4-5524-496f-a7b2-a7b260c9d378" providerId="ADAL" clId="{46E80352-2427-413C-A96B-B5680A74A93F}" dt="2020-02-13T13:53:37.472" v="2026"/>
          <ac:grpSpMkLst>
            <pc:docMk/>
            <pc:sldMk cId="1401223696" sldId="302"/>
            <ac:grpSpMk id="14" creationId="{2528B16D-FB86-4BF3-AB0E-788C48BE2B04}"/>
          </ac:grpSpMkLst>
        </pc:grpChg>
        <pc:grpChg chg="add del mod">
          <ac:chgData name="SANCHEZ, Ana Belen" userId="edb0bad4-5524-496f-a7b2-a7b260c9d378" providerId="ADAL" clId="{46E80352-2427-413C-A96B-B5680A74A93F}" dt="2020-02-13T13:53:37.472" v="2026"/>
          <ac:grpSpMkLst>
            <pc:docMk/>
            <pc:sldMk cId="1401223696" sldId="302"/>
            <ac:grpSpMk id="17" creationId="{A516E2E9-65E6-4362-A852-7B58C8E3F63C}"/>
          </ac:grpSpMkLst>
        </pc:grpChg>
        <pc:grpChg chg="add del">
          <ac:chgData name="SANCHEZ, Ana Belen" userId="edb0bad4-5524-496f-a7b2-a7b260c9d378" providerId="ADAL" clId="{46E80352-2427-413C-A96B-B5680A74A93F}" dt="2020-02-13T14:17:17.429" v="2124" actId="165"/>
          <ac:grpSpMkLst>
            <pc:docMk/>
            <pc:sldMk cId="1401223696" sldId="302"/>
            <ac:grpSpMk id="18" creationId="{6AD85A0B-1715-48D0-A07C-C3C0590FEB5E}"/>
          </ac:grpSpMkLst>
        </pc:grpChg>
        <pc:grpChg chg="add del">
          <ac:chgData name="SANCHEZ, Ana Belen" userId="edb0bad4-5524-496f-a7b2-a7b260c9d378" providerId="ADAL" clId="{46E80352-2427-413C-A96B-B5680A74A93F}" dt="2020-02-13T14:01:47.804" v="2085" actId="478"/>
          <ac:grpSpMkLst>
            <pc:docMk/>
            <pc:sldMk cId="1401223696" sldId="302"/>
            <ac:grpSpMk id="21" creationId="{81008C02-EC73-4FF7-9EF8-A06D8932197E}"/>
          </ac:grpSpMkLst>
        </pc:grpChg>
        <pc:grpChg chg="add del">
          <ac:chgData name="SANCHEZ, Ana Belen" userId="edb0bad4-5524-496f-a7b2-a7b260c9d378" providerId="ADAL" clId="{46E80352-2427-413C-A96B-B5680A74A93F}" dt="2020-02-13T14:01:50.757" v="2086" actId="478"/>
          <ac:grpSpMkLst>
            <pc:docMk/>
            <pc:sldMk cId="1401223696" sldId="302"/>
            <ac:grpSpMk id="24" creationId="{6E7BB0B6-D582-4EB6-94D2-5A8280E91A78}"/>
          </ac:grpSpMkLst>
        </pc:grpChg>
        <pc:grpChg chg="add mod">
          <ac:chgData name="SANCHEZ, Ana Belen" userId="edb0bad4-5524-496f-a7b2-a7b260c9d378" providerId="ADAL" clId="{46E80352-2427-413C-A96B-B5680A74A93F}" dt="2020-02-13T14:27:40.828" v="2245" actId="408"/>
          <ac:grpSpMkLst>
            <pc:docMk/>
            <pc:sldMk cId="1401223696" sldId="302"/>
            <ac:grpSpMk id="38" creationId="{2620C9E0-B35B-431D-9EA3-97816491932E}"/>
          </ac:grpSpMkLst>
        </pc:grpChg>
        <pc:grpChg chg="add mod">
          <ac:chgData name="SANCHEZ, Ana Belen" userId="edb0bad4-5524-496f-a7b2-a7b260c9d378" providerId="ADAL" clId="{46E80352-2427-413C-A96B-B5680A74A93F}" dt="2020-02-13T14:27:40.828" v="2245" actId="408"/>
          <ac:grpSpMkLst>
            <pc:docMk/>
            <pc:sldMk cId="1401223696" sldId="302"/>
            <ac:grpSpMk id="39" creationId="{E460310D-99C5-4642-9694-41D6EB81D08C}"/>
          </ac:grpSpMkLst>
        </pc:grpChg>
        <pc:grpChg chg="add mod">
          <ac:chgData name="SANCHEZ, Ana Belen" userId="edb0bad4-5524-496f-a7b2-a7b260c9d378" providerId="ADAL" clId="{46E80352-2427-413C-A96B-B5680A74A93F}" dt="2020-02-13T14:27:40.828" v="2245" actId="408"/>
          <ac:grpSpMkLst>
            <pc:docMk/>
            <pc:sldMk cId="1401223696" sldId="302"/>
            <ac:grpSpMk id="40" creationId="{34E125F3-8CC0-4ABC-B877-D1119EED0364}"/>
          </ac:grpSpMkLst>
        </pc:grpChg>
        <pc:grpChg chg="add mod">
          <ac:chgData name="SANCHEZ, Ana Belen" userId="edb0bad4-5524-496f-a7b2-a7b260c9d378" providerId="ADAL" clId="{46E80352-2427-413C-A96B-B5680A74A93F}" dt="2020-02-13T14:27:40.828" v="2245" actId="408"/>
          <ac:grpSpMkLst>
            <pc:docMk/>
            <pc:sldMk cId="1401223696" sldId="302"/>
            <ac:grpSpMk id="41" creationId="{2054DAAF-61C9-435F-83BF-319DA072BFD6}"/>
          </ac:grpSpMkLst>
        </pc:grpChg>
        <pc:grpChg chg="add mod">
          <ac:chgData name="SANCHEZ, Ana Belen" userId="edb0bad4-5524-496f-a7b2-a7b260c9d378" providerId="ADAL" clId="{46E80352-2427-413C-A96B-B5680A74A93F}" dt="2020-02-13T14:23:52.554" v="2215" actId="571"/>
          <ac:grpSpMkLst>
            <pc:docMk/>
            <pc:sldMk cId="1401223696" sldId="302"/>
            <ac:grpSpMk id="42" creationId="{9C7DA917-6E4B-47E1-BBF7-95DD6A67345B}"/>
          </ac:grpSpMkLst>
        </pc:grpChg>
        <pc:grpChg chg="mod">
          <ac:chgData name="SANCHEZ, Ana Belen" userId="edb0bad4-5524-496f-a7b2-a7b260c9d378" providerId="ADAL" clId="{46E80352-2427-413C-A96B-B5680A74A93F}" dt="2020-02-13T14:23:52.554" v="2215" actId="571"/>
          <ac:grpSpMkLst>
            <pc:docMk/>
            <pc:sldMk cId="1401223696" sldId="302"/>
            <ac:grpSpMk id="44" creationId="{384A5E7A-F7BF-4E9B-AE54-1A206828328F}"/>
          </ac:grpSpMkLst>
        </pc:grpChg>
        <pc:graphicFrameChg chg="add del mod">
          <ac:chgData name="SANCHEZ, Ana Belen" userId="edb0bad4-5524-496f-a7b2-a7b260c9d378" providerId="ADAL" clId="{46E80352-2427-413C-A96B-B5680A74A93F}" dt="2020-02-13T14:09:40.670" v="2095" actId="478"/>
          <ac:graphicFrameMkLst>
            <pc:docMk/>
            <pc:sldMk cId="1401223696" sldId="302"/>
            <ac:graphicFrameMk id="27" creationId="{7E4172F1-7B01-42E7-AB17-A6CDED23F4D9}"/>
          </ac:graphicFrameMkLst>
        </pc:graphicFrameChg>
        <pc:graphicFrameChg chg="add del">
          <ac:chgData name="SANCHEZ, Ana Belen" userId="edb0bad4-5524-496f-a7b2-a7b260c9d378" providerId="ADAL" clId="{46E80352-2427-413C-A96B-B5680A74A93F}" dt="2020-02-13T23:39:17.343" v="4774"/>
          <ac:graphicFrameMkLst>
            <pc:docMk/>
            <pc:sldMk cId="1401223696" sldId="302"/>
            <ac:graphicFrameMk id="49" creationId="{4B7C3D8D-2039-4101-BC98-EF96ECBBC91E}"/>
          </ac:graphicFrameMkLst>
        </pc:graphicFrameChg>
        <pc:picChg chg="add mod">
          <ac:chgData name="SANCHEZ, Ana Belen" userId="edb0bad4-5524-496f-a7b2-a7b260c9d378" providerId="ADAL" clId="{46E80352-2427-413C-A96B-B5680A74A93F}" dt="2020-02-13T13:51:02.231" v="2002" actId="164"/>
          <ac:picMkLst>
            <pc:docMk/>
            <pc:sldMk cId="1401223696" sldId="302"/>
            <ac:picMk id="5" creationId="{11510208-72F4-42AA-9ACE-BCC2C80A9CB6}"/>
          </ac:picMkLst>
        </pc:picChg>
        <pc:picChg chg="add mod modCrop">
          <ac:chgData name="SANCHEZ, Ana Belen" userId="edb0bad4-5524-496f-a7b2-a7b260c9d378" providerId="ADAL" clId="{46E80352-2427-413C-A96B-B5680A74A93F}" dt="2020-02-13T13:52:18.699" v="2020" actId="732"/>
          <ac:picMkLst>
            <pc:docMk/>
            <pc:sldMk cId="1401223696" sldId="302"/>
            <ac:picMk id="9" creationId="{77CF0C75-3EBF-4F43-A423-51E9133925C6}"/>
          </ac:picMkLst>
        </pc:picChg>
        <pc:picChg chg="add mod modCrop">
          <ac:chgData name="SANCHEZ, Ana Belen" userId="edb0bad4-5524-496f-a7b2-a7b260c9d378" providerId="ADAL" clId="{46E80352-2427-413C-A96B-B5680A74A93F}" dt="2020-02-13T13:52:55.167" v="2025" actId="164"/>
          <ac:picMkLst>
            <pc:docMk/>
            <pc:sldMk cId="1401223696" sldId="302"/>
            <ac:picMk id="12" creationId="{4489949B-366F-4A17-86AD-50238932C63E}"/>
          </ac:picMkLst>
        </pc:picChg>
        <pc:picChg chg="add del mod">
          <ac:chgData name="SANCHEZ, Ana Belen" userId="edb0bad4-5524-496f-a7b2-a7b260c9d378" providerId="ADAL" clId="{46E80352-2427-413C-A96B-B5680A74A93F}" dt="2020-02-13T13:51:46.963" v="2013" actId="478"/>
          <ac:picMkLst>
            <pc:docMk/>
            <pc:sldMk cId="1401223696" sldId="302"/>
            <ac:picMk id="16" creationId="{D0D000F8-29FF-4364-AC4C-19FCFB80D20B}"/>
          </ac:picMkLst>
        </pc:picChg>
        <pc:picChg chg="mod topLvl">
          <ac:chgData name="SANCHEZ, Ana Belen" userId="edb0bad4-5524-496f-a7b2-a7b260c9d378" providerId="ADAL" clId="{46E80352-2427-413C-A96B-B5680A74A93F}" dt="2020-02-13T14:25:24.317" v="2221" actId="12788"/>
          <ac:picMkLst>
            <pc:docMk/>
            <pc:sldMk cId="1401223696" sldId="302"/>
            <ac:picMk id="19" creationId="{4AB34A12-648D-4727-9713-12E107390C62}"/>
          </ac:picMkLst>
        </pc:picChg>
        <pc:picChg chg="del topLvl">
          <ac:chgData name="SANCHEZ, Ana Belen" userId="edb0bad4-5524-496f-a7b2-a7b260c9d378" providerId="ADAL" clId="{46E80352-2427-413C-A96B-B5680A74A93F}" dt="2020-02-13T14:01:47.804" v="2085" actId="478"/>
          <ac:picMkLst>
            <pc:docMk/>
            <pc:sldMk cId="1401223696" sldId="302"/>
            <ac:picMk id="23" creationId="{BF30F09C-845A-4CB1-A255-DDE00ADD7DF6}"/>
          </ac:picMkLst>
        </pc:picChg>
        <pc:picChg chg="del topLvl">
          <ac:chgData name="SANCHEZ, Ana Belen" userId="edb0bad4-5524-496f-a7b2-a7b260c9d378" providerId="ADAL" clId="{46E80352-2427-413C-A96B-B5680A74A93F}" dt="2020-02-13T14:01:50.757" v="2086" actId="478"/>
          <ac:picMkLst>
            <pc:docMk/>
            <pc:sldMk cId="1401223696" sldId="302"/>
            <ac:picMk id="26" creationId="{99ABB5F6-CDD8-4739-B27C-480708A464BE}"/>
          </ac:picMkLst>
        </pc:picChg>
        <pc:picChg chg="add del mod modCrop">
          <ac:chgData name="SANCHEZ, Ana Belen" userId="edb0bad4-5524-496f-a7b2-a7b260c9d378" providerId="ADAL" clId="{46E80352-2427-413C-A96B-B5680A74A93F}" dt="2020-02-13T14:27:22.667" v="2241" actId="12788"/>
          <ac:picMkLst>
            <pc:docMk/>
            <pc:sldMk cId="1401223696" sldId="302"/>
            <ac:picMk id="29" creationId="{CB8F702C-909F-4191-9F33-78C311FE4C1B}"/>
          </ac:picMkLst>
        </pc:picChg>
        <pc:picChg chg="add mod">
          <ac:chgData name="SANCHEZ, Ana Belen" userId="edb0bad4-5524-496f-a7b2-a7b260c9d378" providerId="ADAL" clId="{46E80352-2427-413C-A96B-B5680A74A93F}" dt="2020-02-13T14:27:13.639" v="2240" actId="12788"/>
          <ac:picMkLst>
            <pc:docMk/>
            <pc:sldMk cId="1401223696" sldId="302"/>
            <ac:picMk id="31" creationId="{C05E7767-2A0B-44F4-854E-5F24A54800D5}"/>
          </ac:picMkLst>
        </pc:picChg>
        <pc:picChg chg="add del mod">
          <ac:chgData name="SANCHEZ, Ana Belen" userId="edb0bad4-5524-496f-a7b2-a7b260c9d378" providerId="ADAL" clId="{46E80352-2427-413C-A96B-B5680A74A93F}" dt="2020-02-13T14:19:09.719" v="2144" actId="478"/>
          <ac:picMkLst>
            <pc:docMk/>
            <pc:sldMk cId="1401223696" sldId="302"/>
            <ac:picMk id="33" creationId="{A6311491-0BD3-450C-917A-B4C68DF811C1}"/>
          </ac:picMkLst>
        </pc:picChg>
        <pc:picChg chg="add del mod">
          <ac:chgData name="SANCHEZ, Ana Belen" userId="edb0bad4-5524-496f-a7b2-a7b260c9d378" providerId="ADAL" clId="{46E80352-2427-413C-A96B-B5680A74A93F}" dt="2020-02-13T14:19:01.426" v="2143" actId="478"/>
          <ac:picMkLst>
            <pc:docMk/>
            <pc:sldMk cId="1401223696" sldId="302"/>
            <ac:picMk id="35" creationId="{14BADC41-470A-4274-9A88-DBA8945C1D02}"/>
          </ac:picMkLst>
        </pc:picChg>
        <pc:picChg chg="add del mod">
          <ac:chgData name="SANCHEZ, Ana Belen" userId="edb0bad4-5524-496f-a7b2-a7b260c9d378" providerId="ADAL" clId="{46E80352-2427-413C-A96B-B5680A74A93F}" dt="2020-02-13T19:29:05.217" v="3133"/>
          <ac:picMkLst>
            <pc:docMk/>
            <pc:sldMk cId="1401223696" sldId="302"/>
            <ac:picMk id="47" creationId="{A70AF943-804C-4B13-B7FB-BEBAE3709CAB}"/>
          </ac:picMkLst>
        </pc:picChg>
        <pc:picChg chg="add mod">
          <ac:chgData name="SANCHEZ, Ana Belen" userId="edb0bad4-5524-496f-a7b2-a7b260c9d378" providerId="ADAL" clId="{46E80352-2427-413C-A96B-B5680A74A93F}" dt="2020-02-13T20:32:06.208" v="3164" actId="1076"/>
          <ac:picMkLst>
            <pc:docMk/>
            <pc:sldMk cId="1401223696" sldId="302"/>
            <ac:picMk id="48" creationId="{EF0A28F8-0FA2-4256-9AF6-ED0BB48FBE61}"/>
          </ac:picMkLst>
        </pc:picChg>
      </pc:sldChg>
      <pc:sldChg chg="addSp delSp modSp add modTransition modAnim modNotesTx">
        <pc:chgData name="SANCHEZ, Ana Belen" userId="edb0bad4-5524-496f-a7b2-a7b260c9d378" providerId="ADAL" clId="{46E80352-2427-413C-A96B-B5680A74A93F}" dt="2020-02-13T22:04:30.491" v="4006"/>
        <pc:sldMkLst>
          <pc:docMk/>
          <pc:sldMk cId="3141832574" sldId="303"/>
        </pc:sldMkLst>
        <pc:spChg chg="del">
          <ac:chgData name="SANCHEZ, Ana Belen" userId="edb0bad4-5524-496f-a7b2-a7b260c9d378" providerId="ADAL" clId="{46E80352-2427-413C-A96B-B5680A74A93F}" dt="2020-02-13T14:30:36.595" v="2256" actId="478"/>
          <ac:spMkLst>
            <pc:docMk/>
            <pc:sldMk cId="3141832574" sldId="303"/>
            <ac:spMk id="2" creationId="{FF44B905-173B-439C-9F0E-0C45BF5C2D6C}"/>
          </ac:spMkLst>
        </pc:spChg>
        <pc:spChg chg="del">
          <ac:chgData name="SANCHEZ, Ana Belen" userId="edb0bad4-5524-496f-a7b2-a7b260c9d378" providerId="ADAL" clId="{46E80352-2427-413C-A96B-B5680A74A93F}" dt="2020-02-13T13:56:42.991" v="2040" actId="478"/>
          <ac:spMkLst>
            <pc:docMk/>
            <pc:sldMk cId="3141832574" sldId="303"/>
            <ac:spMk id="3" creationId="{64ED5E36-AD4B-41DB-87B3-B31384A47D86}"/>
          </ac:spMkLst>
        </pc:spChg>
        <pc:spChg chg="del">
          <ac:chgData name="SANCHEZ, Ana Belen" userId="edb0bad4-5524-496f-a7b2-a7b260c9d378" providerId="ADAL" clId="{46E80352-2427-413C-A96B-B5680A74A93F}" dt="2020-02-13T14:30:34.350" v="2255" actId="478"/>
          <ac:spMkLst>
            <pc:docMk/>
            <pc:sldMk cId="3141832574" sldId="303"/>
            <ac:spMk id="4" creationId="{B8A86C19-9496-4309-8082-6F2DD0369BCD}"/>
          </ac:spMkLst>
        </pc:spChg>
        <pc:spChg chg="add mod">
          <ac:chgData name="SANCHEZ, Ana Belen" userId="edb0bad4-5524-496f-a7b2-a7b260c9d378" providerId="ADAL" clId="{46E80352-2427-413C-A96B-B5680A74A93F}" dt="2020-02-13T18:16:01.987" v="2821" actId="20577"/>
          <ac:spMkLst>
            <pc:docMk/>
            <pc:sldMk cId="3141832574" sldId="303"/>
            <ac:spMk id="12" creationId="{2917F158-AE2A-4FB4-9B71-F6E9BDA2C867}"/>
          </ac:spMkLst>
        </pc:spChg>
        <pc:spChg chg="mod">
          <ac:chgData name="SANCHEZ, Ana Belen" userId="edb0bad4-5524-496f-a7b2-a7b260c9d378" providerId="ADAL" clId="{46E80352-2427-413C-A96B-B5680A74A93F}" dt="2020-02-13T14:48:07.713" v="2444" actId="207"/>
          <ac:spMkLst>
            <pc:docMk/>
            <pc:sldMk cId="3141832574" sldId="303"/>
            <ac:spMk id="17" creationId="{D74E4472-3FB3-46CB-B452-68C5768B077B}"/>
          </ac:spMkLst>
        </pc:spChg>
        <pc:spChg chg="mod">
          <ac:chgData name="SANCHEZ, Ana Belen" userId="edb0bad4-5524-496f-a7b2-a7b260c9d378" providerId="ADAL" clId="{46E80352-2427-413C-A96B-B5680A74A93F}" dt="2020-02-13T14:48:07.713" v="2444" actId="207"/>
          <ac:spMkLst>
            <pc:docMk/>
            <pc:sldMk cId="3141832574" sldId="303"/>
            <ac:spMk id="19" creationId="{1D5C9692-86F2-49E5-AD58-5AD408D68FEE}"/>
          </ac:spMkLst>
        </pc:spChg>
        <pc:spChg chg="mod">
          <ac:chgData name="SANCHEZ, Ana Belen" userId="edb0bad4-5524-496f-a7b2-a7b260c9d378" providerId="ADAL" clId="{46E80352-2427-413C-A96B-B5680A74A93F}" dt="2020-02-13T18:07:33.231" v="2754" actId="20577"/>
          <ac:spMkLst>
            <pc:docMk/>
            <pc:sldMk cId="3141832574" sldId="303"/>
            <ac:spMk id="20" creationId="{B73A92AB-2E2E-4B89-B386-9173F62BF0BB}"/>
          </ac:spMkLst>
        </pc:spChg>
        <pc:spChg chg="mod">
          <ac:chgData name="SANCHEZ, Ana Belen" userId="edb0bad4-5524-496f-a7b2-a7b260c9d378" providerId="ADAL" clId="{46E80352-2427-413C-A96B-B5680A74A93F}" dt="2020-02-13T18:10:05.908" v="2765" actId="113"/>
          <ac:spMkLst>
            <pc:docMk/>
            <pc:sldMk cId="3141832574" sldId="303"/>
            <ac:spMk id="25" creationId="{A5768FA7-15BA-4751-B68D-D80B43E9F8C5}"/>
          </ac:spMkLst>
        </pc:spChg>
        <pc:spChg chg="mod">
          <ac:chgData name="SANCHEZ, Ana Belen" userId="edb0bad4-5524-496f-a7b2-a7b260c9d378" providerId="ADAL" clId="{46E80352-2427-413C-A96B-B5680A74A93F}" dt="2020-02-13T14:47:41.790" v="2441" actId="207"/>
          <ac:spMkLst>
            <pc:docMk/>
            <pc:sldMk cId="3141832574" sldId="303"/>
            <ac:spMk id="27" creationId="{CB7B5A04-17D3-4EE1-8978-87CF9DA4C008}"/>
          </ac:spMkLst>
        </pc:spChg>
        <pc:spChg chg="mod">
          <ac:chgData name="SANCHEZ, Ana Belen" userId="edb0bad4-5524-496f-a7b2-a7b260c9d378" providerId="ADAL" clId="{46E80352-2427-413C-A96B-B5680A74A93F}" dt="2020-02-13T14:47:41.790" v="2441" actId="207"/>
          <ac:spMkLst>
            <pc:docMk/>
            <pc:sldMk cId="3141832574" sldId="303"/>
            <ac:spMk id="29" creationId="{5B2D9DFB-40C3-4562-BF4F-97F418E92B66}"/>
          </ac:spMkLst>
        </pc:spChg>
        <pc:spChg chg="mod">
          <ac:chgData name="SANCHEZ, Ana Belen" userId="edb0bad4-5524-496f-a7b2-a7b260c9d378" providerId="ADAL" clId="{46E80352-2427-413C-A96B-B5680A74A93F}" dt="2020-02-13T14:49:50.446" v="2449" actId="207"/>
          <ac:spMkLst>
            <pc:docMk/>
            <pc:sldMk cId="3141832574" sldId="303"/>
            <ac:spMk id="35" creationId="{ADF134F5-3DC2-460B-9380-EFAB1BBC0D07}"/>
          </ac:spMkLst>
        </pc:spChg>
        <pc:spChg chg="mod">
          <ac:chgData name="SANCHEZ, Ana Belen" userId="edb0bad4-5524-496f-a7b2-a7b260c9d378" providerId="ADAL" clId="{46E80352-2427-413C-A96B-B5680A74A93F}" dt="2020-02-13T14:49:55.592" v="2450" actId="207"/>
          <ac:spMkLst>
            <pc:docMk/>
            <pc:sldMk cId="3141832574" sldId="303"/>
            <ac:spMk id="37" creationId="{F86B2A70-7534-4714-9EF6-D6842FBA3476}"/>
          </ac:spMkLst>
        </pc:spChg>
        <pc:spChg chg="mod">
          <ac:chgData name="SANCHEZ, Ana Belen" userId="edb0bad4-5524-496f-a7b2-a7b260c9d378" providerId="ADAL" clId="{46E80352-2427-413C-A96B-B5680A74A93F}" dt="2020-02-13T19:10:06.642" v="3083" actId="108"/>
          <ac:spMkLst>
            <pc:docMk/>
            <pc:sldMk cId="3141832574" sldId="303"/>
            <ac:spMk id="41" creationId="{54E82C34-2AAD-47D2-AD01-76C59871DC93}"/>
          </ac:spMkLst>
        </pc:spChg>
        <pc:spChg chg="mod">
          <ac:chgData name="SANCHEZ, Ana Belen" userId="edb0bad4-5524-496f-a7b2-a7b260c9d378" providerId="ADAL" clId="{46E80352-2427-413C-A96B-B5680A74A93F}" dt="2020-02-13T14:48:40.918" v="2448" actId="207"/>
          <ac:spMkLst>
            <pc:docMk/>
            <pc:sldMk cId="3141832574" sldId="303"/>
            <ac:spMk id="43" creationId="{66121791-D636-4202-AAA9-DE100CE31CC8}"/>
          </ac:spMkLst>
        </pc:spChg>
        <pc:spChg chg="mod">
          <ac:chgData name="SANCHEZ, Ana Belen" userId="edb0bad4-5524-496f-a7b2-a7b260c9d378" providerId="ADAL" clId="{46E80352-2427-413C-A96B-B5680A74A93F}" dt="2020-02-13T14:48:40.918" v="2448" actId="207"/>
          <ac:spMkLst>
            <pc:docMk/>
            <pc:sldMk cId="3141832574" sldId="303"/>
            <ac:spMk id="45" creationId="{8D7C459B-2F09-417A-BCC6-432382070C7E}"/>
          </ac:spMkLst>
        </pc:spChg>
        <pc:spChg chg="mod">
          <ac:chgData name="SANCHEZ, Ana Belen" userId="edb0bad4-5524-496f-a7b2-a7b260c9d378" providerId="ADAL" clId="{46E80352-2427-413C-A96B-B5680A74A93F}" dt="2020-02-13T14:54:08.512" v="2514" actId="20577"/>
          <ac:spMkLst>
            <pc:docMk/>
            <pc:sldMk cId="3141832574" sldId="303"/>
            <ac:spMk id="49" creationId="{FA5614DD-8238-4667-A807-505299D1C475}"/>
          </ac:spMkLst>
        </pc:spChg>
        <pc:spChg chg="add mod">
          <ac:chgData name="SANCHEZ, Ana Belen" userId="edb0bad4-5524-496f-a7b2-a7b260c9d378" providerId="ADAL" clId="{46E80352-2427-413C-A96B-B5680A74A93F}" dt="2020-02-13T21:39:23.318" v="3907" actId="1076"/>
          <ac:spMkLst>
            <pc:docMk/>
            <pc:sldMk cId="3141832574" sldId="303"/>
            <ac:spMk id="54" creationId="{66088E3F-69BA-4D70-A25F-6BB9329F5F4D}"/>
          </ac:spMkLst>
        </pc:spChg>
        <pc:spChg chg="add del mod">
          <ac:chgData name="SANCHEZ, Ana Belen" userId="edb0bad4-5524-496f-a7b2-a7b260c9d378" providerId="ADAL" clId="{46E80352-2427-413C-A96B-B5680A74A93F}" dt="2020-02-13T18:30:27.993" v="2841" actId="478"/>
          <ac:spMkLst>
            <pc:docMk/>
            <pc:sldMk cId="3141832574" sldId="303"/>
            <ac:spMk id="56" creationId="{7EC08EA4-0548-4A03-8B42-BE2F2937A6AE}"/>
          </ac:spMkLst>
        </pc:spChg>
        <pc:spChg chg="add del mod">
          <ac:chgData name="SANCHEZ, Ana Belen" userId="edb0bad4-5524-496f-a7b2-a7b260c9d378" providerId="ADAL" clId="{46E80352-2427-413C-A96B-B5680A74A93F}" dt="2020-02-13T16:22:38.552" v="2643"/>
          <ac:spMkLst>
            <pc:docMk/>
            <pc:sldMk cId="3141832574" sldId="303"/>
            <ac:spMk id="57" creationId="{CB3B0823-4468-458E-8D5B-9D67466559D2}"/>
          </ac:spMkLst>
        </pc:spChg>
        <pc:spChg chg="add mod">
          <ac:chgData name="SANCHEZ, Ana Belen" userId="edb0bad4-5524-496f-a7b2-a7b260c9d378" providerId="ADAL" clId="{46E80352-2427-413C-A96B-B5680A74A93F}" dt="2020-02-13T21:38:59.374" v="3901" actId="1076"/>
          <ac:spMkLst>
            <pc:docMk/>
            <pc:sldMk cId="3141832574" sldId="303"/>
            <ac:spMk id="58" creationId="{4FCCD0D8-63A8-47F2-A4CA-E0188CBADBF6}"/>
          </ac:spMkLst>
        </pc:spChg>
        <pc:spChg chg="add del mod">
          <ac:chgData name="SANCHEZ, Ana Belen" userId="edb0bad4-5524-496f-a7b2-a7b260c9d378" providerId="ADAL" clId="{46E80352-2427-413C-A96B-B5680A74A93F}" dt="2020-02-13T18:57:54.795" v="2949" actId="478"/>
          <ac:spMkLst>
            <pc:docMk/>
            <pc:sldMk cId="3141832574" sldId="303"/>
            <ac:spMk id="60" creationId="{345941C4-6401-44C1-8487-8F3DA052E9FA}"/>
          </ac:spMkLst>
        </pc:spChg>
        <pc:spChg chg="add del mod">
          <ac:chgData name="SANCHEZ, Ana Belen" userId="edb0bad4-5524-496f-a7b2-a7b260c9d378" providerId="ADAL" clId="{46E80352-2427-413C-A96B-B5680A74A93F}" dt="2020-02-13T18:35:07.749" v="2872" actId="478"/>
          <ac:spMkLst>
            <pc:docMk/>
            <pc:sldMk cId="3141832574" sldId="303"/>
            <ac:spMk id="63" creationId="{7BB17B79-C7B2-4563-B224-FE99F1864C26}"/>
          </ac:spMkLst>
        </pc:spChg>
        <pc:spChg chg="mod">
          <ac:chgData name="SANCHEZ, Ana Belen" userId="edb0bad4-5524-496f-a7b2-a7b260c9d378" providerId="ADAL" clId="{46E80352-2427-413C-A96B-B5680A74A93F}" dt="2020-02-13T18:29:58.304" v="2834" actId="207"/>
          <ac:spMkLst>
            <pc:docMk/>
            <pc:sldMk cId="3141832574" sldId="303"/>
            <ac:spMk id="65" creationId="{8DBACE4D-285A-4F2E-A758-3961FD186E4B}"/>
          </ac:spMkLst>
        </pc:spChg>
        <pc:spChg chg="mod">
          <ac:chgData name="SANCHEZ, Ana Belen" userId="edb0bad4-5524-496f-a7b2-a7b260c9d378" providerId="ADAL" clId="{46E80352-2427-413C-A96B-B5680A74A93F}" dt="2020-02-13T18:30:02.465" v="2835" actId="207"/>
          <ac:spMkLst>
            <pc:docMk/>
            <pc:sldMk cId="3141832574" sldId="303"/>
            <ac:spMk id="72" creationId="{79EE490B-51D7-40F4-952C-64E8FC65DAAB}"/>
          </ac:spMkLst>
        </pc:spChg>
        <pc:spChg chg="mod">
          <ac:chgData name="SANCHEZ, Ana Belen" userId="edb0bad4-5524-496f-a7b2-a7b260c9d378" providerId="ADAL" clId="{46E80352-2427-413C-A96B-B5680A74A93F}" dt="2020-02-13T18:30:07.096" v="2836" actId="207"/>
          <ac:spMkLst>
            <pc:docMk/>
            <pc:sldMk cId="3141832574" sldId="303"/>
            <ac:spMk id="74" creationId="{6EC0C79D-6013-4CF7-AA69-2D6CA63104DE}"/>
          </ac:spMkLst>
        </pc:spChg>
        <pc:spChg chg="add mod">
          <ac:chgData name="SANCHEZ, Ana Belen" userId="edb0bad4-5524-496f-a7b2-a7b260c9d378" providerId="ADAL" clId="{46E80352-2427-413C-A96B-B5680A74A93F}" dt="2020-02-13T19:12:19.211" v="3099"/>
          <ac:spMkLst>
            <pc:docMk/>
            <pc:sldMk cId="3141832574" sldId="303"/>
            <ac:spMk id="83" creationId="{C5CA43A0-B4DC-4B4B-9D63-B5BEE5481BE3}"/>
          </ac:spMkLst>
        </pc:spChg>
        <pc:spChg chg="mod">
          <ac:chgData name="SANCHEZ, Ana Belen" userId="edb0bad4-5524-496f-a7b2-a7b260c9d378" providerId="ADAL" clId="{46E80352-2427-413C-A96B-B5680A74A93F}" dt="2020-02-13T19:12:05.048" v="3097" actId="14861"/>
          <ac:spMkLst>
            <pc:docMk/>
            <pc:sldMk cId="3141832574" sldId="303"/>
            <ac:spMk id="91" creationId="{42A6520E-E6BF-4AEB-BC2E-C07146404EEF}"/>
          </ac:spMkLst>
        </pc:spChg>
        <pc:spChg chg="mod">
          <ac:chgData name="SANCHEZ, Ana Belen" userId="edb0bad4-5524-496f-a7b2-a7b260c9d378" providerId="ADAL" clId="{46E80352-2427-413C-A96B-B5680A74A93F}" dt="2020-02-13T18:39:49.274" v="2892" actId="688"/>
          <ac:spMkLst>
            <pc:docMk/>
            <pc:sldMk cId="3141832574" sldId="303"/>
            <ac:spMk id="93" creationId="{025B6A3B-D0FC-4E12-B5ED-5A9EC6DB1321}"/>
          </ac:spMkLst>
        </pc:spChg>
        <pc:spChg chg="mod">
          <ac:chgData name="SANCHEZ, Ana Belen" userId="edb0bad4-5524-496f-a7b2-a7b260c9d378" providerId="ADAL" clId="{46E80352-2427-413C-A96B-B5680A74A93F}" dt="2020-02-13T19:11:58.858" v="3096" actId="14861"/>
          <ac:spMkLst>
            <pc:docMk/>
            <pc:sldMk cId="3141832574" sldId="303"/>
            <ac:spMk id="95" creationId="{C4CE6776-C947-4193-8301-0349B748948E}"/>
          </ac:spMkLst>
        </pc:spChg>
        <pc:spChg chg="mod">
          <ac:chgData name="SANCHEZ, Ana Belen" userId="edb0bad4-5524-496f-a7b2-a7b260c9d378" providerId="ADAL" clId="{46E80352-2427-413C-A96B-B5680A74A93F}" dt="2020-02-13T18:40:23.049" v="2902" actId="1076"/>
          <ac:spMkLst>
            <pc:docMk/>
            <pc:sldMk cId="3141832574" sldId="303"/>
            <ac:spMk id="97" creationId="{BA1CF664-8645-44C7-B71D-BC3448F36E1F}"/>
          </ac:spMkLst>
        </pc:spChg>
        <pc:spChg chg="add mod">
          <ac:chgData name="SANCHEZ, Ana Belen" userId="edb0bad4-5524-496f-a7b2-a7b260c9d378" providerId="ADAL" clId="{46E80352-2427-413C-A96B-B5680A74A93F}" dt="2020-02-13T19:11:05.755" v="3090" actId="207"/>
          <ac:spMkLst>
            <pc:docMk/>
            <pc:sldMk cId="3141832574" sldId="303"/>
            <ac:spMk id="98" creationId="{FF83EA06-107E-4207-AF60-970B313F1853}"/>
          </ac:spMkLst>
        </pc:spChg>
        <pc:spChg chg="add del mod">
          <ac:chgData name="SANCHEZ, Ana Belen" userId="edb0bad4-5524-496f-a7b2-a7b260c9d378" providerId="ADAL" clId="{46E80352-2427-413C-A96B-B5680A74A93F}" dt="2020-02-13T19:02:36.467" v="3031" actId="478"/>
          <ac:spMkLst>
            <pc:docMk/>
            <pc:sldMk cId="3141832574" sldId="303"/>
            <ac:spMk id="99" creationId="{CDFF0C04-AB13-4274-934B-95EB5D70AE2F}"/>
          </ac:spMkLst>
        </pc:spChg>
        <pc:spChg chg="add mod">
          <ac:chgData name="SANCHEZ, Ana Belen" userId="edb0bad4-5524-496f-a7b2-a7b260c9d378" providerId="ADAL" clId="{46E80352-2427-413C-A96B-B5680A74A93F}" dt="2020-02-13T19:11:12.114" v="3091" actId="108"/>
          <ac:spMkLst>
            <pc:docMk/>
            <pc:sldMk cId="3141832574" sldId="303"/>
            <ac:spMk id="100" creationId="{AF0DB844-00E5-4BCC-B8D4-3560A8E87DC8}"/>
          </ac:spMkLst>
        </pc:spChg>
        <pc:spChg chg="add mod">
          <ac:chgData name="SANCHEZ, Ana Belen" userId="edb0bad4-5524-496f-a7b2-a7b260c9d378" providerId="ADAL" clId="{46E80352-2427-413C-A96B-B5680A74A93F}" dt="2020-02-13T19:11:15.961" v="3092" actId="108"/>
          <ac:spMkLst>
            <pc:docMk/>
            <pc:sldMk cId="3141832574" sldId="303"/>
            <ac:spMk id="101" creationId="{2281C8FE-448E-4E69-8CA0-913C3B37A835}"/>
          </ac:spMkLst>
        </pc:spChg>
        <pc:spChg chg="add mod">
          <ac:chgData name="SANCHEZ, Ana Belen" userId="edb0bad4-5524-496f-a7b2-a7b260c9d378" providerId="ADAL" clId="{46E80352-2427-413C-A96B-B5680A74A93F}" dt="2020-02-13T19:12:23.074" v="3100"/>
          <ac:spMkLst>
            <pc:docMk/>
            <pc:sldMk cId="3141832574" sldId="303"/>
            <ac:spMk id="102" creationId="{73F8E9AD-9B5E-4C6B-B7B8-20F6F886CECC}"/>
          </ac:spMkLst>
        </pc:spChg>
        <pc:spChg chg="del">
          <ac:chgData name="SANCHEZ, Ana Belen" userId="edb0bad4-5524-496f-a7b2-a7b260c9d378" providerId="ADAL" clId="{46E80352-2427-413C-A96B-B5680A74A93F}" dt="2020-02-13T18:58:59.402" v="2965" actId="478"/>
          <ac:spMkLst>
            <pc:docMk/>
            <pc:sldMk cId="3141832574" sldId="303"/>
            <ac:spMk id="106" creationId="{6EA663EE-85A7-4FCA-A1A8-0947D374B821}"/>
          </ac:spMkLst>
        </pc:spChg>
        <pc:spChg chg="mod">
          <ac:chgData name="SANCHEZ, Ana Belen" userId="edb0bad4-5524-496f-a7b2-a7b260c9d378" providerId="ADAL" clId="{46E80352-2427-413C-A96B-B5680A74A93F}" dt="2020-02-13T19:07:44.793" v="3074" actId="14100"/>
          <ac:spMkLst>
            <pc:docMk/>
            <pc:sldMk cId="3141832574" sldId="303"/>
            <ac:spMk id="108" creationId="{C1B419F4-CC40-4163-BD41-ACA60DE30077}"/>
          </ac:spMkLst>
        </pc:spChg>
        <pc:spChg chg="mod">
          <ac:chgData name="SANCHEZ, Ana Belen" userId="edb0bad4-5524-496f-a7b2-a7b260c9d378" providerId="ADAL" clId="{46E80352-2427-413C-A96B-B5680A74A93F}" dt="2020-02-13T19:06:49.194" v="3068" actId="208"/>
          <ac:spMkLst>
            <pc:docMk/>
            <pc:sldMk cId="3141832574" sldId="303"/>
            <ac:spMk id="110" creationId="{AD53A2D0-6C5D-44E9-9DAD-289A9284BED4}"/>
          </ac:spMkLst>
        </pc:spChg>
        <pc:spChg chg="add mod">
          <ac:chgData name="SANCHEZ, Ana Belen" userId="edb0bad4-5524-496f-a7b2-a7b260c9d378" providerId="ADAL" clId="{46E80352-2427-413C-A96B-B5680A74A93F}" dt="2020-02-13T21:59:00.460" v="3983" actId="164"/>
          <ac:spMkLst>
            <pc:docMk/>
            <pc:sldMk cId="3141832574" sldId="303"/>
            <ac:spMk id="111" creationId="{22F8C153-88C7-4248-A5F6-2DF5DDAF67FA}"/>
          </ac:spMkLst>
        </pc:spChg>
        <pc:spChg chg="add del">
          <ac:chgData name="SANCHEZ, Ana Belen" userId="edb0bad4-5524-496f-a7b2-a7b260c9d378" providerId="ADAL" clId="{46E80352-2427-413C-A96B-B5680A74A93F}" dt="2020-02-13T19:01:53.349" v="3015" actId="478"/>
          <ac:spMkLst>
            <pc:docMk/>
            <pc:sldMk cId="3141832574" sldId="303"/>
            <ac:spMk id="114" creationId="{03BE3B9D-9509-46EE-839B-C2954619D1FC}"/>
          </ac:spMkLst>
        </pc:spChg>
        <pc:spChg chg="add del">
          <ac:chgData name="SANCHEZ, Ana Belen" userId="edb0bad4-5524-496f-a7b2-a7b260c9d378" providerId="ADAL" clId="{46E80352-2427-413C-A96B-B5680A74A93F}" dt="2020-02-13T19:01:58.726" v="3017" actId="478"/>
          <ac:spMkLst>
            <pc:docMk/>
            <pc:sldMk cId="3141832574" sldId="303"/>
            <ac:spMk id="115" creationId="{923904DD-660C-4D15-92E2-AF6E2FE44FDD}"/>
          </ac:spMkLst>
        </pc:spChg>
        <pc:spChg chg="add del">
          <ac:chgData name="SANCHEZ, Ana Belen" userId="edb0bad4-5524-496f-a7b2-a7b260c9d378" providerId="ADAL" clId="{46E80352-2427-413C-A96B-B5680A74A93F}" dt="2020-02-13T19:02:05.461" v="3019" actId="478"/>
          <ac:spMkLst>
            <pc:docMk/>
            <pc:sldMk cId="3141832574" sldId="303"/>
            <ac:spMk id="116" creationId="{A76865F3-957B-40BA-B2B7-E83F1B392BC6}"/>
          </ac:spMkLst>
        </pc:spChg>
        <pc:spChg chg="add del">
          <ac:chgData name="SANCHEZ, Ana Belen" userId="edb0bad4-5524-496f-a7b2-a7b260c9d378" providerId="ADAL" clId="{46E80352-2427-413C-A96B-B5680A74A93F}" dt="2020-02-13T19:02:14.860" v="3021"/>
          <ac:spMkLst>
            <pc:docMk/>
            <pc:sldMk cId="3141832574" sldId="303"/>
            <ac:spMk id="117" creationId="{7EB93135-9D7D-4EAC-9EAC-3B65E2C3108C}"/>
          </ac:spMkLst>
        </pc:spChg>
        <pc:spChg chg="del">
          <ac:chgData name="SANCHEZ, Ana Belen" userId="edb0bad4-5524-496f-a7b2-a7b260c9d378" providerId="ADAL" clId="{46E80352-2427-413C-A96B-B5680A74A93F}" dt="2020-02-13T19:03:05.285" v="3036" actId="478"/>
          <ac:spMkLst>
            <pc:docMk/>
            <pc:sldMk cId="3141832574" sldId="303"/>
            <ac:spMk id="120" creationId="{88F3B5C6-CA8B-48E1-9E5F-C29002F501F5}"/>
          </ac:spMkLst>
        </pc:spChg>
        <pc:spChg chg="mod">
          <ac:chgData name="SANCHEZ, Ana Belen" userId="edb0bad4-5524-496f-a7b2-a7b260c9d378" providerId="ADAL" clId="{46E80352-2427-413C-A96B-B5680A74A93F}" dt="2020-02-13T19:12:26.787" v="3101"/>
          <ac:spMkLst>
            <pc:docMk/>
            <pc:sldMk cId="3141832574" sldId="303"/>
            <ac:spMk id="121" creationId="{02B632B7-1500-4AD5-9E46-0983871F04D0}"/>
          </ac:spMkLst>
        </pc:spChg>
        <pc:spChg chg="mod">
          <ac:chgData name="SANCHEZ, Ana Belen" userId="edb0bad4-5524-496f-a7b2-a7b260c9d378" providerId="ADAL" clId="{46E80352-2427-413C-A96B-B5680A74A93F}" dt="2020-02-13T19:12:10.596" v="3098" actId="14861"/>
          <ac:spMkLst>
            <pc:docMk/>
            <pc:sldMk cId="3141832574" sldId="303"/>
            <ac:spMk id="122" creationId="{257464A6-F161-44EA-8CC7-D5BA0D137947}"/>
          </ac:spMkLst>
        </pc:spChg>
        <pc:spChg chg="mod">
          <ac:chgData name="SANCHEZ, Ana Belen" userId="edb0bad4-5524-496f-a7b2-a7b260c9d378" providerId="ADAL" clId="{46E80352-2427-413C-A96B-B5680A74A93F}" dt="2020-02-13T19:27:45.655" v="3124" actId="207"/>
          <ac:spMkLst>
            <pc:docMk/>
            <pc:sldMk cId="3141832574" sldId="303"/>
            <ac:spMk id="142" creationId="{313538D0-5D84-4DB0-A8F6-450EC6A10C04}"/>
          </ac:spMkLst>
        </pc:spChg>
        <pc:spChg chg="mod">
          <ac:chgData name="SANCHEZ, Ana Belen" userId="edb0bad4-5524-496f-a7b2-a7b260c9d378" providerId="ADAL" clId="{46E80352-2427-413C-A96B-B5680A74A93F}" dt="2020-02-13T19:26:16.289" v="3122" actId="207"/>
          <ac:spMkLst>
            <pc:docMk/>
            <pc:sldMk cId="3141832574" sldId="303"/>
            <ac:spMk id="144" creationId="{0270944B-0F2D-443B-BBDB-5FC9649D4330}"/>
          </ac:spMkLst>
        </pc:spChg>
        <pc:spChg chg="mod">
          <ac:chgData name="SANCHEZ, Ana Belen" userId="edb0bad4-5524-496f-a7b2-a7b260c9d378" providerId="ADAL" clId="{46E80352-2427-413C-A96B-B5680A74A93F}" dt="2020-02-13T19:22:08.772" v="3111" actId="207"/>
          <ac:spMkLst>
            <pc:docMk/>
            <pc:sldMk cId="3141832574" sldId="303"/>
            <ac:spMk id="154" creationId="{F22E2AAD-046C-491D-8E59-1747D6815243}"/>
          </ac:spMkLst>
        </pc:spChg>
        <pc:spChg chg="mod">
          <ac:chgData name="SANCHEZ, Ana Belen" userId="edb0bad4-5524-496f-a7b2-a7b260c9d378" providerId="ADAL" clId="{46E80352-2427-413C-A96B-B5680A74A93F}" dt="2020-02-13T19:22:17.027" v="3112" actId="207"/>
          <ac:spMkLst>
            <pc:docMk/>
            <pc:sldMk cId="3141832574" sldId="303"/>
            <ac:spMk id="156" creationId="{1B390A64-A7DE-49BB-BD2A-7910D023362A}"/>
          </ac:spMkLst>
        </pc:spChg>
        <pc:spChg chg="mod">
          <ac:chgData name="SANCHEZ, Ana Belen" userId="edb0bad4-5524-496f-a7b2-a7b260c9d378" providerId="ADAL" clId="{46E80352-2427-413C-A96B-B5680A74A93F}" dt="2020-02-13T19:22:45.221" v="3116" actId="207"/>
          <ac:spMkLst>
            <pc:docMk/>
            <pc:sldMk cId="3141832574" sldId="303"/>
            <ac:spMk id="163" creationId="{68FDB002-C271-4BED-AB9A-7D60686931EB}"/>
          </ac:spMkLst>
        </pc:spChg>
        <pc:spChg chg="mod">
          <ac:chgData name="SANCHEZ, Ana Belen" userId="edb0bad4-5524-496f-a7b2-a7b260c9d378" providerId="ADAL" clId="{46E80352-2427-413C-A96B-B5680A74A93F}" dt="2020-02-13T19:22:28.160" v="3114" actId="207"/>
          <ac:spMkLst>
            <pc:docMk/>
            <pc:sldMk cId="3141832574" sldId="303"/>
            <ac:spMk id="165" creationId="{3B4DA41B-C295-4A48-92B4-3B327055CD6E}"/>
          </ac:spMkLst>
        </pc:spChg>
        <pc:spChg chg="mod">
          <ac:chgData name="SANCHEZ, Ana Belen" userId="edb0bad4-5524-496f-a7b2-a7b260c9d378" providerId="ADAL" clId="{46E80352-2427-413C-A96B-B5680A74A93F}" dt="2020-02-13T19:24:54.810" v="3119" actId="207"/>
          <ac:spMkLst>
            <pc:docMk/>
            <pc:sldMk cId="3141832574" sldId="303"/>
            <ac:spMk id="171" creationId="{81D7A822-C0AD-4A60-ACBC-AFC60813099A}"/>
          </ac:spMkLst>
        </pc:spChg>
        <pc:spChg chg="mod">
          <ac:chgData name="SANCHEZ, Ana Belen" userId="edb0bad4-5524-496f-a7b2-a7b260c9d378" providerId="ADAL" clId="{46E80352-2427-413C-A96B-B5680A74A93F}" dt="2020-02-13T19:24:40.640" v="3117" actId="207"/>
          <ac:spMkLst>
            <pc:docMk/>
            <pc:sldMk cId="3141832574" sldId="303"/>
            <ac:spMk id="176" creationId="{22C43E58-84C0-4921-B5A8-D0AA4A551CA9}"/>
          </ac:spMkLst>
        </pc:spChg>
        <pc:spChg chg="add mod">
          <ac:chgData name="SANCHEZ, Ana Belen" userId="edb0bad4-5524-496f-a7b2-a7b260c9d378" providerId="ADAL" clId="{46E80352-2427-413C-A96B-B5680A74A93F}" dt="2020-02-13T20:29:41.119" v="3160" actId="2085"/>
          <ac:spMkLst>
            <pc:docMk/>
            <pc:sldMk cId="3141832574" sldId="303"/>
            <ac:spMk id="182" creationId="{D09F4A1B-3794-4403-BD7C-50228DDAC3A1}"/>
          </ac:spMkLst>
        </pc:spChg>
        <pc:spChg chg="add mod">
          <ac:chgData name="SANCHEZ, Ana Belen" userId="edb0bad4-5524-496f-a7b2-a7b260c9d378" providerId="ADAL" clId="{46E80352-2427-413C-A96B-B5680A74A93F}" dt="2020-02-13T22:01:32.852" v="3993" actId="164"/>
          <ac:spMkLst>
            <pc:docMk/>
            <pc:sldMk cId="3141832574" sldId="303"/>
            <ac:spMk id="184" creationId="{F25B8594-2787-44BB-B40F-EBDEE88E10DE}"/>
          </ac:spMkLst>
        </pc:spChg>
        <pc:spChg chg="add mod">
          <ac:chgData name="SANCHEZ, Ana Belen" userId="edb0bad4-5524-496f-a7b2-a7b260c9d378" providerId="ADAL" clId="{46E80352-2427-413C-A96B-B5680A74A93F}" dt="2020-02-13T22:01:35.876" v="3994" actId="164"/>
          <ac:spMkLst>
            <pc:docMk/>
            <pc:sldMk cId="3141832574" sldId="303"/>
            <ac:spMk id="185" creationId="{2D2EE23B-49E4-4694-BC23-15275F3EF5BB}"/>
          </ac:spMkLst>
        </pc:spChg>
        <pc:spChg chg="add del mod">
          <ac:chgData name="SANCHEZ, Ana Belen" userId="edb0bad4-5524-496f-a7b2-a7b260c9d378" providerId="ADAL" clId="{46E80352-2427-413C-A96B-B5680A74A93F}" dt="2020-02-13T20:55:24.720" v="3402"/>
          <ac:spMkLst>
            <pc:docMk/>
            <pc:sldMk cId="3141832574" sldId="303"/>
            <ac:spMk id="186" creationId="{4EBED1FD-4402-425B-BF45-F0DB37B06059}"/>
          </ac:spMkLst>
        </pc:spChg>
        <pc:spChg chg="add mod">
          <ac:chgData name="SANCHEZ, Ana Belen" userId="edb0bad4-5524-496f-a7b2-a7b260c9d378" providerId="ADAL" clId="{46E80352-2427-413C-A96B-B5680A74A93F}" dt="2020-02-13T22:01:38.756" v="3995" actId="164"/>
          <ac:spMkLst>
            <pc:docMk/>
            <pc:sldMk cId="3141832574" sldId="303"/>
            <ac:spMk id="187" creationId="{FD858801-E629-4C9A-BAD5-75F1CAC2E245}"/>
          </ac:spMkLst>
        </pc:spChg>
        <pc:spChg chg="add mod">
          <ac:chgData name="SANCHEZ, Ana Belen" userId="edb0bad4-5524-496f-a7b2-a7b260c9d378" providerId="ADAL" clId="{46E80352-2427-413C-A96B-B5680A74A93F}" dt="2020-02-13T22:01:41.389" v="3996" actId="164"/>
          <ac:spMkLst>
            <pc:docMk/>
            <pc:sldMk cId="3141832574" sldId="303"/>
            <ac:spMk id="188" creationId="{6FC45416-ADE0-4B70-8EA4-27A30E9E7378}"/>
          </ac:spMkLst>
        </pc:spChg>
        <pc:spChg chg="add del mod">
          <ac:chgData name="SANCHEZ, Ana Belen" userId="edb0bad4-5524-496f-a7b2-a7b260c9d378" providerId="ADAL" clId="{46E80352-2427-413C-A96B-B5680A74A93F}" dt="2020-02-13T21:21:36.918" v="3799" actId="478"/>
          <ac:spMkLst>
            <pc:docMk/>
            <pc:sldMk cId="3141832574" sldId="303"/>
            <ac:spMk id="189" creationId="{0AB9BF2B-9944-40F1-869C-15D141B766E4}"/>
          </ac:spMkLst>
        </pc:spChg>
        <pc:spChg chg="add mod">
          <ac:chgData name="SANCHEZ, Ana Belen" userId="edb0bad4-5524-496f-a7b2-a7b260c9d378" providerId="ADAL" clId="{46E80352-2427-413C-A96B-B5680A74A93F}" dt="2020-02-13T22:01:45.062" v="3997" actId="164"/>
          <ac:spMkLst>
            <pc:docMk/>
            <pc:sldMk cId="3141832574" sldId="303"/>
            <ac:spMk id="190" creationId="{8C9126F5-461B-4D38-B389-56CF78A501C0}"/>
          </ac:spMkLst>
        </pc:spChg>
        <pc:spChg chg="add mod">
          <ac:chgData name="SANCHEZ, Ana Belen" userId="edb0bad4-5524-496f-a7b2-a7b260c9d378" providerId="ADAL" clId="{46E80352-2427-413C-A96B-B5680A74A93F}" dt="2020-02-13T21:16:52.738" v="3736" actId="571"/>
          <ac:spMkLst>
            <pc:docMk/>
            <pc:sldMk cId="3141832574" sldId="303"/>
            <ac:spMk id="191" creationId="{8552439F-173D-4056-A4F9-DCB09C4562DA}"/>
          </ac:spMkLst>
        </pc:spChg>
        <pc:spChg chg="add mod">
          <ac:chgData name="SANCHEZ, Ana Belen" userId="edb0bad4-5524-496f-a7b2-a7b260c9d378" providerId="ADAL" clId="{46E80352-2427-413C-A96B-B5680A74A93F}" dt="2020-02-13T21:16:52.738" v="3736" actId="571"/>
          <ac:spMkLst>
            <pc:docMk/>
            <pc:sldMk cId="3141832574" sldId="303"/>
            <ac:spMk id="192" creationId="{B3A9DB39-1AA0-4960-9678-A00730405D2B}"/>
          </ac:spMkLst>
        </pc:spChg>
        <pc:spChg chg="add mod">
          <ac:chgData name="SANCHEZ, Ana Belen" userId="edb0bad4-5524-496f-a7b2-a7b260c9d378" providerId="ADAL" clId="{46E80352-2427-413C-A96B-B5680A74A93F}" dt="2020-02-13T21:16:52.738" v="3736" actId="571"/>
          <ac:spMkLst>
            <pc:docMk/>
            <pc:sldMk cId="3141832574" sldId="303"/>
            <ac:spMk id="193" creationId="{1ACA1A02-46C2-4921-9E74-534243F6AB89}"/>
          </ac:spMkLst>
        </pc:spChg>
        <pc:spChg chg="add mod">
          <ac:chgData name="SANCHEZ, Ana Belen" userId="edb0bad4-5524-496f-a7b2-a7b260c9d378" providerId="ADAL" clId="{46E80352-2427-413C-A96B-B5680A74A93F}" dt="2020-02-13T21:16:52.738" v="3736" actId="571"/>
          <ac:spMkLst>
            <pc:docMk/>
            <pc:sldMk cId="3141832574" sldId="303"/>
            <ac:spMk id="194" creationId="{4C8BB37E-BF18-417C-9F5B-143BA2A0BBF7}"/>
          </ac:spMkLst>
        </pc:spChg>
        <pc:spChg chg="add mod">
          <ac:chgData name="SANCHEZ, Ana Belen" userId="edb0bad4-5524-496f-a7b2-a7b260c9d378" providerId="ADAL" clId="{46E80352-2427-413C-A96B-B5680A74A93F}" dt="2020-02-13T21:16:52.738" v="3736" actId="571"/>
          <ac:spMkLst>
            <pc:docMk/>
            <pc:sldMk cId="3141832574" sldId="303"/>
            <ac:spMk id="195" creationId="{F12893B7-7351-43E5-8275-EB52D5EA0C18}"/>
          </ac:spMkLst>
        </pc:spChg>
        <pc:spChg chg="mod">
          <ac:chgData name="SANCHEZ, Ana Belen" userId="edb0bad4-5524-496f-a7b2-a7b260c9d378" providerId="ADAL" clId="{46E80352-2427-413C-A96B-B5680A74A93F}" dt="2020-02-13T21:47:06.708" v="3955" actId="207"/>
          <ac:spMkLst>
            <pc:docMk/>
            <pc:sldMk cId="3141832574" sldId="303"/>
            <ac:spMk id="204" creationId="{0FBE016E-3245-4CA7-B69D-42F0CB9D5921}"/>
          </ac:spMkLst>
        </pc:spChg>
        <pc:spChg chg="mod">
          <ac:chgData name="SANCHEZ, Ana Belen" userId="edb0bad4-5524-496f-a7b2-a7b260c9d378" providerId="ADAL" clId="{46E80352-2427-413C-A96B-B5680A74A93F}" dt="2020-02-13T21:47:15.079" v="3958" actId="207"/>
          <ac:spMkLst>
            <pc:docMk/>
            <pc:sldMk cId="3141832574" sldId="303"/>
            <ac:spMk id="216" creationId="{6704EAB2-67A4-42BD-AF41-5E69DC6DA4B0}"/>
          </ac:spMkLst>
        </pc:spChg>
        <pc:spChg chg="mod">
          <ac:chgData name="SANCHEZ, Ana Belen" userId="edb0bad4-5524-496f-a7b2-a7b260c9d378" providerId="ADAL" clId="{46E80352-2427-413C-A96B-B5680A74A93F}" dt="2020-02-13T21:47:09.599" v="3956" actId="207"/>
          <ac:spMkLst>
            <pc:docMk/>
            <pc:sldMk cId="3141832574" sldId="303"/>
            <ac:spMk id="224" creationId="{848081E9-56E3-4261-856D-4C767AB0B063}"/>
          </ac:spMkLst>
        </pc:spChg>
        <pc:spChg chg="mod">
          <ac:chgData name="SANCHEZ, Ana Belen" userId="edb0bad4-5524-496f-a7b2-a7b260c9d378" providerId="ADAL" clId="{46E80352-2427-413C-A96B-B5680A74A93F}" dt="2020-02-13T21:47:12.206" v="3957" actId="207"/>
          <ac:spMkLst>
            <pc:docMk/>
            <pc:sldMk cId="3141832574" sldId="303"/>
            <ac:spMk id="227" creationId="{EA781999-0A41-4CA5-8F18-C8A97A80D481}"/>
          </ac:spMkLst>
        </pc:spChg>
        <pc:spChg chg="mod">
          <ac:chgData name="SANCHEZ, Ana Belen" userId="edb0bad4-5524-496f-a7b2-a7b260c9d378" providerId="ADAL" clId="{46E80352-2427-413C-A96B-B5680A74A93F}" dt="2020-02-13T21:47:18.590" v="3959" actId="207"/>
          <ac:spMkLst>
            <pc:docMk/>
            <pc:sldMk cId="3141832574" sldId="303"/>
            <ac:spMk id="236" creationId="{F497FDDB-F832-497D-B67A-C12198DDE5A4}"/>
          </ac:spMkLst>
        </pc:spChg>
        <pc:grpChg chg="add">
          <ac:chgData name="SANCHEZ, Ana Belen" userId="edb0bad4-5524-496f-a7b2-a7b260c9d378" providerId="ADAL" clId="{46E80352-2427-413C-A96B-B5680A74A93F}" dt="2020-02-13T14:30:48.702" v="2257"/>
          <ac:grpSpMkLst>
            <pc:docMk/>
            <pc:sldMk cId="3141832574" sldId="303"/>
            <ac:grpSpMk id="5" creationId="{9ED353F4-5B86-4B1C-A9E9-3BCA1D6ECA5E}"/>
          </ac:grpSpMkLst>
        </pc:grpChg>
        <pc:grpChg chg="add del mod">
          <ac:chgData name="SANCHEZ, Ana Belen" userId="edb0bad4-5524-496f-a7b2-a7b260c9d378" providerId="ADAL" clId="{46E80352-2427-413C-A96B-B5680A74A93F}" dt="2020-02-13T19:03:44.604" v="3039" actId="478"/>
          <ac:grpSpMkLst>
            <pc:docMk/>
            <pc:sldMk cId="3141832574" sldId="303"/>
            <ac:grpSpMk id="14" creationId="{CFB13F46-56CA-4BB1-91DC-F4216D3DEF63}"/>
          </ac:grpSpMkLst>
        </pc:grpChg>
        <pc:grpChg chg="add">
          <ac:chgData name="SANCHEZ, Ana Belen" userId="edb0bad4-5524-496f-a7b2-a7b260c9d378" providerId="ADAL" clId="{46E80352-2427-413C-A96B-B5680A74A93F}" dt="2020-02-13T14:47:03.184" v="2440"/>
          <ac:grpSpMkLst>
            <pc:docMk/>
            <pc:sldMk cId="3141832574" sldId="303"/>
            <ac:grpSpMk id="22" creationId="{820DD39D-29D5-4CE3-8E37-FBF0531FA5ED}"/>
          </ac:grpSpMkLst>
        </pc:grpChg>
        <pc:grpChg chg="add del">
          <ac:chgData name="SANCHEZ, Ana Belen" userId="edb0bad4-5524-496f-a7b2-a7b260c9d378" providerId="ADAL" clId="{46E80352-2427-413C-A96B-B5680A74A93F}" dt="2020-02-13T19:06:18.802" v="3061" actId="478"/>
          <ac:grpSpMkLst>
            <pc:docMk/>
            <pc:sldMk cId="3141832574" sldId="303"/>
            <ac:grpSpMk id="30" creationId="{E16A4814-5B6D-4B59-9730-B7C1C584B14A}"/>
          </ac:grpSpMkLst>
        </pc:grpChg>
        <pc:grpChg chg="add mod">
          <ac:chgData name="SANCHEZ, Ana Belen" userId="edb0bad4-5524-496f-a7b2-a7b260c9d378" providerId="ADAL" clId="{46E80352-2427-413C-A96B-B5680A74A93F}" dt="2020-02-13T19:06:24.240" v="3062" actId="1076"/>
          <ac:grpSpMkLst>
            <pc:docMk/>
            <pc:sldMk cId="3141832574" sldId="303"/>
            <ac:grpSpMk id="38" creationId="{EE38E944-232B-4A37-BD65-BFE86588EB80}"/>
          </ac:grpSpMkLst>
        </pc:grpChg>
        <pc:grpChg chg="add del">
          <ac:chgData name="SANCHEZ, Ana Belen" userId="edb0bad4-5524-496f-a7b2-a7b260c9d378" providerId="ADAL" clId="{46E80352-2427-413C-A96B-B5680A74A93F}" dt="2020-02-13T19:05:34.485" v="3045" actId="478"/>
          <ac:grpSpMkLst>
            <pc:docMk/>
            <pc:sldMk cId="3141832574" sldId="303"/>
            <ac:grpSpMk id="46" creationId="{12CE911F-AA85-47B1-9C65-A4A48010947B}"/>
          </ac:grpSpMkLst>
        </pc:grpChg>
        <pc:grpChg chg="add mod">
          <ac:chgData name="SANCHEZ, Ana Belen" userId="edb0bad4-5524-496f-a7b2-a7b260c9d378" providerId="ADAL" clId="{46E80352-2427-413C-A96B-B5680A74A93F}" dt="2020-02-13T21:38:41.039" v="3895" actId="1076"/>
          <ac:grpSpMkLst>
            <pc:docMk/>
            <pc:sldMk cId="3141832574" sldId="303"/>
            <ac:grpSpMk id="64" creationId="{3722BC45-A2D6-4F4F-9887-C7F8B32C066D}"/>
          </ac:grpSpMkLst>
        </pc:grpChg>
        <pc:grpChg chg="add mod">
          <ac:chgData name="SANCHEZ, Ana Belen" userId="edb0bad4-5524-496f-a7b2-a7b260c9d378" providerId="ADAL" clId="{46E80352-2427-413C-A96B-B5680A74A93F}" dt="2020-02-13T21:39:07.646" v="3903" actId="1076"/>
          <ac:grpSpMkLst>
            <pc:docMk/>
            <pc:sldMk cId="3141832574" sldId="303"/>
            <ac:grpSpMk id="71" creationId="{B96ED876-C1D6-450B-9D58-B76BE1E47137}"/>
          </ac:grpSpMkLst>
        </pc:grpChg>
        <pc:grpChg chg="add del mod">
          <ac:chgData name="SANCHEZ, Ana Belen" userId="edb0bad4-5524-496f-a7b2-a7b260c9d378" providerId="ADAL" clId="{46E80352-2427-413C-A96B-B5680A74A93F}" dt="2020-02-13T18:40:18.359" v="2901" actId="478"/>
          <ac:grpSpMkLst>
            <pc:docMk/>
            <pc:sldMk cId="3141832574" sldId="303"/>
            <ac:grpSpMk id="84" creationId="{68B9A7FB-E7FD-4E2F-A40E-0B265276462F}"/>
          </ac:grpSpMkLst>
        </pc:grpChg>
        <pc:grpChg chg="mod">
          <ac:chgData name="SANCHEZ, Ana Belen" userId="edb0bad4-5524-496f-a7b2-a7b260c9d378" providerId="ADAL" clId="{46E80352-2427-413C-A96B-B5680A74A93F}" dt="2020-02-13T18:39:43.338" v="2891" actId="688"/>
          <ac:grpSpMkLst>
            <pc:docMk/>
            <pc:sldMk cId="3141832574" sldId="303"/>
            <ac:grpSpMk id="86" creationId="{87B57860-B68B-44BE-ADEC-BFFE5D384701}"/>
          </ac:grpSpMkLst>
        </pc:grpChg>
        <pc:grpChg chg="add mod">
          <ac:chgData name="SANCHEZ, Ana Belen" userId="edb0bad4-5524-496f-a7b2-a7b260c9d378" providerId="ADAL" clId="{46E80352-2427-413C-A96B-B5680A74A93F}" dt="2020-02-13T19:01:44.528" v="3013" actId="164"/>
          <ac:grpSpMkLst>
            <pc:docMk/>
            <pc:sldMk cId="3141832574" sldId="303"/>
            <ac:grpSpMk id="90" creationId="{8B392BBE-5BFF-4919-8947-36B5D44C8977}"/>
          </ac:grpSpMkLst>
        </pc:grpChg>
        <pc:grpChg chg="add mod">
          <ac:chgData name="SANCHEZ, Ana Belen" userId="edb0bad4-5524-496f-a7b2-a7b260c9d378" providerId="ADAL" clId="{46E80352-2427-413C-A96B-B5680A74A93F}" dt="2020-02-13T19:01:24.397" v="3009" actId="164"/>
          <ac:grpSpMkLst>
            <pc:docMk/>
            <pc:sldMk cId="3141832574" sldId="303"/>
            <ac:grpSpMk id="94" creationId="{42A468B0-6FA6-41FC-83CE-75E1889B5AA9}"/>
          </ac:grpSpMkLst>
        </pc:grpChg>
        <pc:grpChg chg="add mod">
          <ac:chgData name="SANCHEZ, Ana Belen" userId="edb0bad4-5524-496f-a7b2-a7b260c9d378" providerId="ADAL" clId="{46E80352-2427-413C-A96B-B5680A74A93F}" dt="2020-02-13T21:59:00.460" v="3983" actId="164"/>
          <ac:grpSpMkLst>
            <pc:docMk/>
            <pc:sldMk cId="3141832574" sldId="303"/>
            <ac:grpSpMk id="103" creationId="{7A108C75-EE20-4332-95C5-DCB0FBD9D902}"/>
          </ac:grpSpMkLst>
        </pc:grpChg>
        <pc:grpChg chg="mod">
          <ac:chgData name="SANCHEZ, Ana Belen" userId="edb0bad4-5524-496f-a7b2-a7b260c9d378" providerId="ADAL" clId="{46E80352-2427-413C-A96B-B5680A74A93F}" dt="2020-02-13T18:58:50.543" v="2963"/>
          <ac:grpSpMkLst>
            <pc:docMk/>
            <pc:sldMk cId="3141832574" sldId="303"/>
            <ac:grpSpMk id="104" creationId="{990A8EC8-4FCD-415D-8157-E6D10577E2C8}"/>
          </ac:grpSpMkLst>
        </pc:grpChg>
        <pc:grpChg chg="del mod">
          <ac:chgData name="SANCHEZ, Ana Belen" userId="edb0bad4-5524-496f-a7b2-a7b260c9d378" providerId="ADAL" clId="{46E80352-2427-413C-A96B-B5680A74A93F}" dt="2020-02-13T18:58:59.402" v="2965" actId="478"/>
          <ac:grpSpMkLst>
            <pc:docMk/>
            <pc:sldMk cId="3141832574" sldId="303"/>
            <ac:grpSpMk id="105" creationId="{A3B41C3F-CC2E-48D3-B634-74F06B8440DC}"/>
          </ac:grpSpMkLst>
        </pc:grpChg>
        <pc:grpChg chg="add mod">
          <ac:chgData name="SANCHEZ, Ana Belen" userId="edb0bad4-5524-496f-a7b2-a7b260c9d378" providerId="ADAL" clId="{46E80352-2427-413C-A96B-B5680A74A93F}" dt="2020-02-13T19:10:30.416" v="3086" actId="1076"/>
          <ac:grpSpMkLst>
            <pc:docMk/>
            <pc:sldMk cId="3141832574" sldId="303"/>
            <ac:grpSpMk id="112" creationId="{60708575-5D98-4E33-BC0B-77E053BDA809}"/>
          </ac:grpSpMkLst>
        </pc:grpChg>
        <pc:grpChg chg="add mod">
          <ac:chgData name="SANCHEZ, Ana Belen" userId="edb0bad4-5524-496f-a7b2-a7b260c9d378" providerId="ADAL" clId="{46E80352-2427-413C-A96B-B5680A74A93F}" dt="2020-02-13T19:10:35.856" v="3087" actId="1076"/>
          <ac:grpSpMkLst>
            <pc:docMk/>
            <pc:sldMk cId="3141832574" sldId="303"/>
            <ac:grpSpMk id="113" creationId="{1382AD49-08BB-4761-8EDE-897DA4836088}"/>
          </ac:grpSpMkLst>
        </pc:grpChg>
        <pc:grpChg chg="add mod">
          <ac:chgData name="SANCHEZ, Ana Belen" userId="edb0bad4-5524-496f-a7b2-a7b260c9d378" providerId="ADAL" clId="{46E80352-2427-413C-A96B-B5680A74A93F}" dt="2020-02-13T19:10:15.900" v="3084" actId="164"/>
          <ac:grpSpMkLst>
            <pc:docMk/>
            <pc:sldMk cId="3141832574" sldId="303"/>
            <ac:grpSpMk id="118" creationId="{93A92E61-A344-4718-8C54-6657D43C378F}"/>
          </ac:grpSpMkLst>
        </pc:grpChg>
        <pc:grpChg chg="mod">
          <ac:chgData name="SANCHEZ, Ana Belen" userId="edb0bad4-5524-496f-a7b2-a7b260c9d378" providerId="ADAL" clId="{46E80352-2427-413C-A96B-B5680A74A93F}" dt="2020-02-13T19:02:18.992" v="3022"/>
          <ac:grpSpMkLst>
            <pc:docMk/>
            <pc:sldMk cId="3141832574" sldId="303"/>
            <ac:grpSpMk id="119" creationId="{F6BA9A13-B02E-4F55-B09B-924F175F02DF}"/>
          </ac:grpSpMkLst>
        </pc:grpChg>
        <pc:grpChg chg="add mod">
          <ac:chgData name="SANCHEZ, Ana Belen" userId="edb0bad4-5524-496f-a7b2-a7b260c9d378" providerId="ADAL" clId="{46E80352-2427-413C-A96B-B5680A74A93F}" dt="2020-02-13T19:10:40.648" v="3088" actId="1076"/>
          <ac:grpSpMkLst>
            <pc:docMk/>
            <pc:sldMk cId="3141832574" sldId="303"/>
            <ac:grpSpMk id="125" creationId="{036C76B9-9925-48D6-84B3-08610320775C}"/>
          </ac:grpSpMkLst>
        </pc:grpChg>
        <pc:grpChg chg="add mod">
          <ac:chgData name="SANCHEZ, Ana Belen" userId="edb0bad4-5524-496f-a7b2-a7b260c9d378" providerId="ADAL" clId="{46E80352-2427-413C-A96B-B5680A74A93F}" dt="2020-02-13T19:21:12.867" v="3103" actId="164"/>
          <ac:grpSpMkLst>
            <pc:docMk/>
            <pc:sldMk cId="3141832574" sldId="303"/>
            <ac:grpSpMk id="126" creationId="{46C65AF5-7983-475B-8BB7-DF82CB01E289}"/>
          </ac:grpSpMkLst>
        </pc:grpChg>
        <pc:grpChg chg="add mod">
          <ac:chgData name="SANCHEZ, Ana Belen" userId="edb0bad4-5524-496f-a7b2-a7b260c9d378" providerId="ADAL" clId="{46E80352-2427-413C-A96B-B5680A74A93F}" dt="2020-02-13T19:21:12.867" v="3103" actId="164"/>
          <ac:grpSpMkLst>
            <pc:docMk/>
            <pc:sldMk cId="3141832574" sldId="303"/>
            <ac:grpSpMk id="147" creationId="{AE9C86B5-D9EB-47B2-89A8-0D1AC8369BC2}"/>
          </ac:grpSpMkLst>
        </pc:grpChg>
        <pc:grpChg chg="add mod">
          <ac:chgData name="SANCHEZ, Ana Belen" userId="edb0bad4-5524-496f-a7b2-a7b260c9d378" providerId="ADAL" clId="{46E80352-2427-413C-A96B-B5680A74A93F}" dt="2020-02-13T19:21:12.867" v="3103" actId="164"/>
          <ac:grpSpMkLst>
            <pc:docMk/>
            <pc:sldMk cId="3141832574" sldId="303"/>
            <ac:grpSpMk id="168" creationId="{F4BC709D-E539-40E6-8ECA-6EC5627F2C64}"/>
          </ac:grpSpMkLst>
        </pc:grpChg>
        <pc:grpChg chg="add del mod">
          <ac:chgData name="SANCHEZ, Ana Belen" userId="edb0bad4-5524-496f-a7b2-a7b260c9d378" providerId="ADAL" clId="{46E80352-2427-413C-A96B-B5680A74A93F}" dt="2020-02-13T19:28:46.219" v="3129"/>
          <ac:grpSpMkLst>
            <pc:docMk/>
            <pc:sldMk cId="3141832574" sldId="303"/>
            <ac:grpSpMk id="179" creationId="{B4EB7EE6-4805-4856-BE05-C0F9A030B6BD}"/>
          </ac:grpSpMkLst>
        </pc:grpChg>
        <pc:grpChg chg="add mod">
          <ac:chgData name="SANCHEZ, Ana Belen" userId="edb0bad4-5524-496f-a7b2-a7b260c9d378" providerId="ADAL" clId="{46E80352-2427-413C-A96B-B5680A74A93F}" dt="2020-02-13T22:00:53.510" v="3989" actId="1076"/>
          <ac:grpSpMkLst>
            <pc:docMk/>
            <pc:sldMk cId="3141832574" sldId="303"/>
            <ac:grpSpMk id="183" creationId="{994C4191-9C5A-4370-8905-509120BC8056}"/>
          </ac:grpSpMkLst>
        </pc:grpChg>
        <pc:grpChg chg="add del mod">
          <ac:chgData name="SANCHEZ, Ana Belen" userId="edb0bad4-5524-496f-a7b2-a7b260c9d378" providerId="ADAL" clId="{46E80352-2427-413C-A96B-B5680A74A93F}" dt="2020-02-13T21:45:01.747" v="3935" actId="478"/>
          <ac:grpSpMkLst>
            <pc:docMk/>
            <pc:sldMk cId="3141832574" sldId="303"/>
            <ac:grpSpMk id="196" creationId="{B8762A9D-2B31-411D-89E4-69818A3138FA}"/>
          </ac:grpSpMkLst>
        </pc:grpChg>
        <pc:grpChg chg="add mod">
          <ac:chgData name="SANCHEZ, Ana Belen" userId="edb0bad4-5524-496f-a7b2-a7b260c9d378" providerId="ADAL" clId="{46E80352-2427-413C-A96B-B5680A74A93F}" dt="2020-02-13T22:01:35.876" v="3994" actId="164"/>
          <ac:grpSpMkLst>
            <pc:docMk/>
            <pc:sldMk cId="3141832574" sldId="303"/>
            <ac:grpSpMk id="203" creationId="{1B66EE8F-1C3A-4CB7-9FC6-D3B57BA3A624}"/>
          </ac:grpSpMkLst>
        </pc:grpChg>
        <pc:grpChg chg="mod">
          <ac:chgData name="SANCHEZ, Ana Belen" userId="edb0bad4-5524-496f-a7b2-a7b260c9d378" providerId="ADAL" clId="{46E80352-2427-413C-A96B-B5680A74A93F}" dt="2020-02-13T21:43:47.478" v="3928" actId="1076"/>
          <ac:grpSpMkLst>
            <pc:docMk/>
            <pc:sldMk cId="3141832574" sldId="303"/>
            <ac:grpSpMk id="205" creationId="{AE54E7F7-21C0-4042-82B8-5A5F0932E7D1}"/>
          </ac:grpSpMkLst>
        </pc:grpChg>
        <pc:grpChg chg="add mod">
          <ac:chgData name="SANCHEZ, Ana Belen" userId="edb0bad4-5524-496f-a7b2-a7b260c9d378" providerId="ADAL" clId="{46E80352-2427-413C-A96B-B5680A74A93F}" dt="2020-02-13T22:01:41.389" v="3996" actId="164"/>
          <ac:grpSpMkLst>
            <pc:docMk/>
            <pc:sldMk cId="3141832574" sldId="303"/>
            <ac:grpSpMk id="215" creationId="{AFD32011-478F-410A-9A69-F9A1284B9F0B}"/>
          </ac:grpSpMkLst>
        </pc:grpChg>
        <pc:grpChg chg="add mod">
          <ac:chgData name="SANCHEZ, Ana Belen" userId="edb0bad4-5524-496f-a7b2-a7b260c9d378" providerId="ADAL" clId="{46E80352-2427-413C-A96B-B5680A74A93F}" dt="2020-02-13T22:01:32.852" v="3993" actId="164"/>
          <ac:grpSpMkLst>
            <pc:docMk/>
            <pc:sldMk cId="3141832574" sldId="303"/>
            <ac:grpSpMk id="223" creationId="{18533C32-B120-4E55-8D3A-CB613314E02C}"/>
          </ac:grpSpMkLst>
        </pc:grpChg>
        <pc:grpChg chg="add mod">
          <ac:chgData name="SANCHEZ, Ana Belen" userId="edb0bad4-5524-496f-a7b2-a7b260c9d378" providerId="ADAL" clId="{46E80352-2427-413C-A96B-B5680A74A93F}" dt="2020-02-13T22:01:38.756" v="3995" actId="164"/>
          <ac:grpSpMkLst>
            <pc:docMk/>
            <pc:sldMk cId="3141832574" sldId="303"/>
            <ac:grpSpMk id="226" creationId="{71B4D314-7FA8-4761-A266-310E06FC5C47}"/>
          </ac:grpSpMkLst>
        </pc:grpChg>
        <pc:grpChg chg="add mod">
          <ac:chgData name="SANCHEZ, Ana Belen" userId="edb0bad4-5524-496f-a7b2-a7b260c9d378" providerId="ADAL" clId="{46E80352-2427-413C-A96B-B5680A74A93F}" dt="2020-02-13T22:01:45.062" v="3997" actId="164"/>
          <ac:grpSpMkLst>
            <pc:docMk/>
            <pc:sldMk cId="3141832574" sldId="303"/>
            <ac:grpSpMk id="235" creationId="{82A88826-3294-4A38-8A79-FE1E18BDD861}"/>
          </ac:grpSpMkLst>
        </pc:grpChg>
        <pc:grpChg chg="add mod">
          <ac:chgData name="SANCHEZ, Ana Belen" userId="edb0bad4-5524-496f-a7b2-a7b260c9d378" providerId="ADAL" clId="{46E80352-2427-413C-A96B-B5680A74A93F}" dt="2020-02-13T21:59:00.460" v="3983" actId="164"/>
          <ac:grpSpMkLst>
            <pc:docMk/>
            <pc:sldMk cId="3141832574" sldId="303"/>
            <ac:grpSpMk id="240" creationId="{8A4AFB69-CF21-4366-9A69-B9DA40C30381}"/>
          </ac:grpSpMkLst>
        </pc:grpChg>
        <pc:grpChg chg="add mod">
          <ac:chgData name="SANCHEZ, Ana Belen" userId="edb0bad4-5524-496f-a7b2-a7b260c9d378" providerId="ADAL" clId="{46E80352-2427-413C-A96B-B5680A74A93F}" dt="2020-02-13T22:01:32.852" v="3993" actId="164"/>
          <ac:grpSpMkLst>
            <pc:docMk/>
            <pc:sldMk cId="3141832574" sldId="303"/>
            <ac:grpSpMk id="241" creationId="{69F6023A-4816-4100-97BC-CEF60B2C3ECB}"/>
          </ac:grpSpMkLst>
        </pc:grpChg>
        <pc:grpChg chg="add mod">
          <ac:chgData name="SANCHEZ, Ana Belen" userId="edb0bad4-5524-496f-a7b2-a7b260c9d378" providerId="ADAL" clId="{46E80352-2427-413C-A96B-B5680A74A93F}" dt="2020-02-13T22:01:35.876" v="3994" actId="164"/>
          <ac:grpSpMkLst>
            <pc:docMk/>
            <pc:sldMk cId="3141832574" sldId="303"/>
            <ac:grpSpMk id="242" creationId="{44356F66-5672-40D1-865E-583E718E9DB5}"/>
          </ac:grpSpMkLst>
        </pc:grpChg>
        <pc:grpChg chg="add mod">
          <ac:chgData name="SANCHEZ, Ana Belen" userId="edb0bad4-5524-496f-a7b2-a7b260c9d378" providerId="ADAL" clId="{46E80352-2427-413C-A96B-B5680A74A93F}" dt="2020-02-13T22:01:38.756" v="3995" actId="164"/>
          <ac:grpSpMkLst>
            <pc:docMk/>
            <pc:sldMk cId="3141832574" sldId="303"/>
            <ac:grpSpMk id="243" creationId="{9041753B-7F12-4DDA-ABB9-2D0EA430D992}"/>
          </ac:grpSpMkLst>
        </pc:grpChg>
        <pc:grpChg chg="add mod">
          <ac:chgData name="SANCHEZ, Ana Belen" userId="edb0bad4-5524-496f-a7b2-a7b260c9d378" providerId="ADAL" clId="{46E80352-2427-413C-A96B-B5680A74A93F}" dt="2020-02-13T22:01:41.389" v="3996" actId="164"/>
          <ac:grpSpMkLst>
            <pc:docMk/>
            <pc:sldMk cId="3141832574" sldId="303"/>
            <ac:grpSpMk id="244" creationId="{E96FD84F-99CF-4C63-8FC4-8D2F5ABD4CEC}"/>
          </ac:grpSpMkLst>
        </pc:grpChg>
        <pc:grpChg chg="add mod">
          <ac:chgData name="SANCHEZ, Ana Belen" userId="edb0bad4-5524-496f-a7b2-a7b260c9d378" providerId="ADAL" clId="{46E80352-2427-413C-A96B-B5680A74A93F}" dt="2020-02-13T22:01:45.062" v="3997" actId="164"/>
          <ac:grpSpMkLst>
            <pc:docMk/>
            <pc:sldMk cId="3141832574" sldId="303"/>
            <ac:grpSpMk id="245" creationId="{2296BF10-80F8-48E7-AA4E-C20F2131D8F1}"/>
          </ac:grpSpMkLst>
        </pc:grpChg>
        <pc:picChg chg="add del">
          <ac:chgData name="SANCHEZ, Ana Belen" userId="edb0bad4-5524-496f-a7b2-a7b260c9d378" providerId="ADAL" clId="{46E80352-2427-413C-A96B-B5680A74A93F}" dt="2020-02-13T16:20:31.830" v="2623"/>
          <ac:picMkLst>
            <pc:docMk/>
            <pc:sldMk cId="3141832574" sldId="303"/>
            <ac:picMk id="55" creationId="{E8AD84A1-C4B5-4496-8DC1-C127659D62B9}"/>
          </ac:picMkLst>
        </pc:picChg>
        <pc:picChg chg="add del mod">
          <ac:chgData name="SANCHEZ, Ana Belen" userId="edb0bad4-5524-496f-a7b2-a7b260c9d378" providerId="ADAL" clId="{46E80352-2427-413C-A96B-B5680A74A93F}" dt="2020-02-13T17:36:13.824" v="2716" actId="478"/>
          <ac:picMkLst>
            <pc:docMk/>
            <pc:sldMk cId="3141832574" sldId="303"/>
            <ac:picMk id="59" creationId="{B55C9183-ED6D-4079-BB10-3089A588DF38}"/>
          </ac:picMkLst>
        </pc:picChg>
        <pc:picChg chg="add del mod">
          <ac:chgData name="SANCHEZ, Ana Belen" userId="edb0bad4-5524-496f-a7b2-a7b260c9d378" providerId="ADAL" clId="{46E80352-2427-413C-A96B-B5680A74A93F}" dt="2020-02-13T18:11:44.352" v="2771" actId="478"/>
          <ac:picMkLst>
            <pc:docMk/>
            <pc:sldMk cId="3141832574" sldId="303"/>
            <ac:picMk id="62" creationId="{6390DF7D-42DF-4FA3-A101-A9A91175C46B}"/>
          </ac:picMkLst>
        </pc:picChg>
        <pc:picChg chg="add del mod">
          <ac:chgData name="SANCHEZ, Ana Belen" userId="edb0bad4-5524-496f-a7b2-a7b260c9d378" providerId="ADAL" clId="{46E80352-2427-413C-A96B-B5680A74A93F}" dt="2020-02-13T18:31:45.017" v="2844" actId="478"/>
          <ac:picMkLst>
            <pc:docMk/>
            <pc:sldMk cId="3141832574" sldId="303"/>
            <ac:picMk id="77" creationId="{5B3C4B96-4FD3-4158-B3EC-0C95D2BEB562}"/>
          </ac:picMkLst>
        </pc:picChg>
        <pc:picChg chg="add del mod">
          <ac:chgData name="SANCHEZ, Ana Belen" userId="edb0bad4-5524-496f-a7b2-a7b260c9d378" providerId="ADAL" clId="{46E80352-2427-413C-A96B-B5680A74A93F}" dt="2020-02-13T18:32:05.906" v="2851" actId="478"/>
          <ac:picMkLst>
            <pc:docMk/>
            <pc:sldMk cId="3141832574" sldId="303"/>
            <ac:picMk id="79" creationId="{E10460FF-804C-4E2A-8AFC-8538FBA53367}"/>
          </ac:picMkLst>
        </pc:picChg>
        <pc:picChg chg="add mod ord">
          <ac:chgData name="SANCHEZ, Ana Belen" userId="edb0bad4-5524-496f-a7b2-a7b260c9d378" providerId="ADAL" clId="{46E80352-2427-413C-A96B-B5680A74A93F}" dt="2020-02-13T22:01:00.022" v="3992" actId="1076"/>
          <ac:picMkLst>
            <pc:docMk/>
            <pc:sldMk cId="3141832574" sldId="303"/>
            <ac:picMk id="81" creationId="{014A3B5D-809F-47BA-97EC-B3D28A8AB289}"/>
          </ac:picMkLst>
        </pc:picChg>
        <pc:picChg chg="add del mod">
          <ac:chgData name="SANCHEZ, Ana Belen" userId="edb0bad4-5524-496f-a7b2-a7b260c9d378" providerId="ADAL" clId="{46E80352-2427-413C-A96B-B5680A74A93F}" dt="2020-02-13T18:36:38.867" v="2884" actId="478"/>
          <ac:picMkLst>
            <pc:docMk/>
            <pc:sldMk cId="3141832574" sldId="303"/>
            <ac:picMk id="82" creationId="{13F80AE5-E35E-4A88-9DF0-63270835BC65}"/>
          </ac:picMkLst>
        </pc:picChg>
        <pc:picChg chg="mod">
          <ac:chgData name="SANCHEZ, Ana Belen" userId="edb0bad4-5524-496f-a7b2-a7b260c9d378" providerId="ADAL" clId="{46E80352-2427-413C-A96B-B5680A74A93F}" dt="2020-02-13T19:25:59.137" v="3120" actId="207"/>
          <ac:picMkLst>
            <pc:docMk/>
            <pc:sldMk cId="3141832574" sldId="303"/>
            <ac:picMk id="132" creationId="{CC87012E-F0B4-413E-BC5E-6DA5FE7564EA}"/>
          </ac:picMkLst>
        </pc:picChg>
        <pc:picChg chg="mod">
          <ac:chgData name="SANCHEZ, Ana Belen" userId="edb0bad4-5524-496f-a7b2-a7b260c9d378" providerId="ADAL" clId="{46E80352-2427-413C-A96B-B5680A74A93F}" dt="2020-02-13T19:26:11.908" v="3121" actId="207"/>
          <ac:picMkLst>
            <pc:docMk/>
            <pc:sldMk cId="3141832574" sldId="303"/>
            <ac:picMk id="141" creationId="{EBE6CDAC-4D22-48F1-8DF3-AA3A48D014B7}"/>
          </ac:picMkLst>
        </pc:picChg>
        <pc:picChg chg="mod">
          <ac:chgData name="SANCHEZ, Ana Belen" userId="edb0bad4-5524-496f-a7b2-a7b260c9d378" providerId="ADAL" clId="{46E80352-2427-413C-A96B-B5680A74A93F}" dt="2020-02-13T19:22:21.242" v="3113" actId="207"/>
          <ac:picMkLst>
            <pc:docMk/>
            <pc:sldMk cId="3141832574" sldId="303"/>
            <ac:picMk id="153" creationId="{DB1C9F33-D1A7-4957-AF1D-3FF8FF92B1C7}"/>
          </ac:picMkLst>
        </pc:picChg>
        <pc:picChg chg="mod">
          <ac:chgData name="SANCHEZ, Ana Belen" userId="edb0bad4-5524-496f-a7b2-a7b260c9d378" providerId="ADAL" clId="{46E80352-2427-413C-A96B-B5680A74A93F}" dt="2020-02-13T19:22:32.082" v="3115" actId="207"/>
          <ac:picMkLst>
            <pc:docMk/>
            <pc:sldMk cId="3141832574" sldId="303"/>
            <ac:picMk id="162" creationId="{B7EFC846-AAB6-4AB2-A092-53508DAB03D2}"/>
          </ac:picMkLst>
        </pc:picChg>
        <pc:picChg chg="mod">
          <ac:chgData name="SANCHEZ, Ana Belen" userId="edb0bad4-5524-496f-a7b2-a7b260c9d378" providerId="ADAL" clId="{46E80352-2427-413C-A96B-B5680A74A93F}" dt="2020-02-13T19:24:50.450" v="3118" actId="207"/>
          <ac:picMkLst>
            <pc:docMk/>
            <pc:sldMk cId="3141832574" sldId="303"/>
            <ac:picMk id="175" creationId="{14CDAF89-4037-4090-B41D-7DC11F88197A}"/>
          </ac:picMkLst>
        </pc:picChg>
        <pc:picChg chg="add mod">
          <ac:chgData name="SANCHEZ, Ana Belen" userId="edb0bad4-5524-496f-a7b2-a7b260c9d378" providerId="ADAL" clId="{46E80352-2427-413C-A96B-B5680A74A93F}" dt="2020-02-13T22:00:56.030" v="3990" actId="1076"/>
          <ac:picMkLst>
            <pc:docMk/>
            <pc:sldMk cId="3141832574" sldId="303"/>
            <ac:picMk id="180" creationId="{AB93036D-AA5F-4F96-AC56-E538257D0195}"/>
          </ac:picMkLst>
        </pc:picChg>
        <pc:picChg chg="add mod modCrop">
          <ac:chgData name="SANCHEZ, Ana Belen" userId="edb0bad4-5524-496f-a7b2-a7b260c9d378" providerId="ADAL" clId="{46E80352-2427-413C-A96B-B5680A74A93F}" dt="2020-02-13T20:29:34.501" v="3158" actId="164"/>
          <ac:picMkLst>
            <pc:docMk/>
            <pc:sldMk cId="3141832574" sldId="303"/>
            <ac:picMk id="181" creationId="{65A02A94-B594-4344-B6D5-3C231E046D64}"/>
          </ac:picMkLst>
        </pc:picChg>
        <pc:cxnChg chg="add mod">
          <ac:chgData name="SANCHEZ, Ana Belen" userId="edb0bad4-5524-496f-a7b2-a7b260c9d378" providerId="ADAL" clId="{46E80352-2427-413C-A96B-B5680A74A93F}" dt="2020-02-13T14:54:35.617" v="2516" actId="1076"/>
          <ac:cxnSpMkLst>
            <pc:docMk/>
            <pc:sldMk cId="3141832574" sldId="303"/>
            <ac:cxnSpMk id="13" creationId="{4D725051-01AD-41A5-A990-E64A8E9C6AF6}"/>
          </ac:cxnSpMkLst>
        </pc:cxnChg>
        <pc:cxnChg chg="mod">
          <ac:chgData name="SANCHEZ, Ana Belen" userId="edb0bad4-5524-496f-a7b2-a7b260c9d378" providerId="ADAL" clId="{46E80352-2427-413C-A96B-B5680A74A93F}" dt="2020-02-13T19:03:44.604" v="3039" actId="478"/>
          <ac:cxnSpMkLst>
            <pc:docMk/>
            <pc:sldMk cId="3141832574" sldId="303"/>
            <ac:cxnSpMk id="18" creationId="{841CA6F2-1B7E-4A47-B249-0CB3ABDC2EA5}"/>
          </ac:cxnSpMkLst>
        </pc:cxnChg>
        <pc:cxnChg chg="mod">
          <ac:chgData name="SANCHEZ, Ana Belen" userId="edb0bad4-5524-496f-a7b2-a7b260c9d378" providerId="ADAL" clId="{46E80352-2427-413C-A96B-B5680A74A93F}" dt="2020-02-13T14:48:17.288" v="2446" actId="208"/>
          <ac:cxnSpMkLst>
            <pc:docMk/>
            <pc:sldMk cId="3141832574" sldId="303"/>
            <ac:cxnSpMk id="21" creationId="{FB0B9839-40A6-40E3-8B43-256F71E9E143}"/>
          </ac:cxnSpMkLst>
        </pc:cxnChg>
        <pc:cxnChg chg="mod">
          <ac:chgData name="SANCHEZ, Ana Belen" userId="edb0bad4-5524-496f-a7b2-a7b260c9d378" providerId="ADAL" clId="{46E80352-2427-413C-A96B-B5680A74A93F}" dt="2020-02-13T14:47:51.417" v="2443" actId="208"/>
          <ac:cxnSpMkLst>
            <pc:docMk/>
            <pc:sldMk cId="3141832574" sldId="303"/>
            <ac:cxnSpMk id="26" creationId="{B5152A76-C3A9-4536-8F44-63C02D1C8046}"/>
          </ac:cxnSpMkLst>
        </pc:cxnChg>
        <pc:cxnChg chg="mod">
          <ac:chgData name="SANCHEZ, Ana Belen" userId="edb0bad4-5524-496f-a7b2-a7b260c9d378" providerId="ADAL" clId="{46E80352-2427-413C-A96B-B5680A74A93F}" dt="2020-02-13T14:47:48.239" v="2442" actId="208"/>
          <ac:cxnSpMkLst>
            <pc:docMk/>
            <pc:sldMk cId="3141832574" sldId="303"/>
            <ac:cxnSpMk id="28" creationId="{ED0AF3AB-BBC2-43B3-B932-455D1810737A}"/>
          </ac:cxnSpMkLst>
        </pc:cxnChg>
        <pc:cxnChg chg="mod">
          <ac:chgData name="SANCHEZ, Ana Belen" userId="edb0bad4-5524-496f-a7b2-a7b260c9d378" providerId="ADAL" clId="{46E80352-2427-413C-A96B-B5680A74A93F}" dt="2020-02-13T14:50:04.047" v="2451" actId="208"/>
          <ac:cxnSpMkLst>
            <pc:docMk/>
            <pc:sldMk cId="3141832574" sldId="303"/>
            <ac:cxnSpMk id="34" creationId="{20383498-54E2-4EE7-BFF2-79D93C5381C5}"/>
          </ac:cxnSpMkLst>
        </pc:cxnChg>
        <pc:cxnChg chg="mod">
          <ac:chgData name="SANCHEZ, Ana Belen" userId="edb0bad4-5524-496f-a7b2-a7b260c9d378" providerId="ADAL" clId="{46E80352-2427-413C-A96B-B5680A74A93F}" dt="2020-02-13T14:50:06.921" v="2452" actId="208"/>
          <ac:cxnSpMkLst>
            <pc:docMk/>
            <pc:sldMk cId="3141832574" sldId="303"/>
            <ac:cxnSpMk id="36" creationId="{DB2EB158-C4B8-4FE4-B53E-E7D2435DD0E5}"/>
          </ac:cxnSpMkLst>
        </pc:cxnChg>
        <pc:cxnChg chg="mod">
          <ac:chgData name="SANCHEZ, Ana Belen" userId="edb0bad4-5524-496f-a7b2-a7b260c9d378" providerId="ADAL" clId="{46E80352-2427-413C-A96B-B5680A74A93F}" dt="2020-02-13T14:48:33.473" v="2447" actId="208"/>
          <ac:cxnSpMkLst>
            <pc:docMk/>
            <pc:sldMk cId="3141832574" sldId="303"/>
            <ac:cxnSpMk id="42" creationId="{DAE5DB87-F475-4610-B21D-DFCA2CBCF227}"/>
          </ac:cxnSpMkLst>
        </pc:cxnChg>
        <pc:cxnChg chg="mod">
          <ac:chgData name="SANCHEZ, Ana Belen" userId="edb0bad4-5524-496f-a7b2-a7b260c9d378" providerId="ADAL" clId="{46E80352-2427-413C-A96B-B5680A74A93F}" dt="2020-02-13T19:05:34.485" v="3045" actId="478"/>
          <ac:cxnSpMkLst>
            <pc:docMk/>
            <pc:sldMk cId="3141832574" sldId="303"/>
            <ac:cxnSpMk id="52" creationId="{14ACE7AA-C120-4BE5-87FF-D9A54221D5DF}"/>
          </ac:cxnSpMkLst>
        </pc:cxnChg>
        <pc:cxnChg chg="mod">
          <ac:chgData name="SANCHEZ, Ana Belen" userId="edb0bad4-5524-496f-a7b2-a7b260c9d378" providerId="ADAL" clId="{46E80352-2427-413C-A96B-B5680A74A93F}" dt="2020-02-13T19:06:49.194" v="3068" actId="208"/>
          <ac:cxnSpMkLst>
            <pc:docMk/>
            <pc:sldMk cId="3141832574" sldId="303"/>
            <ac:cxnSpMk id="107" creationId="{3986B0C2-E3C9-4256-894F-5BD634C8EFC8}"/>
          </ac:cxnSpMkLst>
        </pc:cxnChg>
        <pc:cxnChg chg="mod">
          <ac:chgData name="SANCHEZ, Ana Belen" userId="edb0bad4-5524-496f-a7b2-a7b260c9d378" providerId="ADAL" clId="{46E80352-2427-413C-A96B-B5680A74A93F}" dt="2020-02-13T19:06:49.194" v="3068" actId="208"/>
          <ac:cxnSpMkLst>
            <pc:docMk/>
            <pc:sldMk cId="3141832574" sldId="303"/>
            <ac:cxnSpMk id="109" creationId="{06F883D3-E2D8-4D93-A654-4205218BA996}"/>
          </ac:cxnSpMkLst>
        </pc:cxnChg>
      </pc:sldChg>
      <pc:sldChg chg="addSp delSp modSp add addAnim delAnim modAnim">
        <pc:chgData name="SANCHEZ, Ana Belen" userId="edb0bad4-5524-496f-a7b2-a7b260c9d378" providerId="ADAL" clId="{46E80352-2427-413C-A96B-B5680A74A93F}" dt="2020-02-14T08:00:44.345" v="5066"/>
        <pc:sldMkLst>
          <pc:docMk/>
          <pc:sldMk cId="1579739483" sldId="304"/>
        </pc:sldMkLst>
        <pc:spChg chg="add del mod">
          <ac:chgData name="SANCHEZ, Ana Belen" userId="edb0bad4-5524-496f-a7b2-a7b260c9d378" providerId="ADAL" clId="{46E80352-2427-413C-A96B-B5680A74A93F}" dt="2020-02-13T23:08:52.549" v="4445" actId="478"/>
          <ac:spMkLst>
            <pc:docMk/>
            <pc:sldMk cId="1579739483" sldId="304"/>
            <ac:spMk id="4" creationId="{9833B656-3FBC-412B-90E9-950D974C967C}"/>
          </ac:spMkLst>
        </pc:spChg>
        <pc:spChg chg="mod">
          <ac:chgData name="SANCHEZ, Ana Belen" userId="edb0bad4-5524-496f-a7b2-a7b260c9d378" providerId="ADAL" clId="{46E80352-2427-413C-A96B-B5680A74A93F}" dt="2020-02-13T14:40:34.745" v="2439" actId="1076"/>
          <ac:spMkLst>
            <pc:docMk/>
            <pc:sldMk cId="1579739483" sldId="304"/>
            <ac:spMk id="12" creationId="{2917F158-AE2A-4FB4-9B71-F6E9BDA2C867}"/>
          </ac:spMkLst>
        </pc:spChg>
        <pc:spChg chg="mod">
          <ac:chgData name="SANCHEZ, Ana Belen" userId="edb0bad4-5524-496f-a7b2-a7b260c9d378" providerId="ADAL" clId="{46E80352-2427-413C-A96B-B5680A74A93F}" dt="2020-02-13T22:47:43.400" v="4029" actId="20577"/>
          <ac:spMkLst>
            <pc:docMk/>
            <pc:sldMk cId="1579739483" sldId="304"/>
            <ac:spMk id="17" creationId="{C23B835E-ABF4-469E-A3EE-1BA2FCEE45AF}"/>
          </ac:spMkLst>
        </pc:spChg>
        <pc:spChg chg="mod">
          <ac:chgData name="SANCHEZ, Ana Belen" userId="edb0bad4-5524-496f-a7b2-a7b260c9d378" providerId="ADAL" clId="{46E80352-2427-413C-A96B-B5680A74A93F}" dt="2020-02-13T23:52:54.539" v="4899" actId="207"/>
          <ac:spMkLst>
            <pc:docMk/>
            <pc:sldMk cId="1579739483" sldId="304"/>
            <ac:spMk id="23" creationId="{CF81360C-08EB-4856-8C56-8CDEB019A5AF}"/>
          </ac:spMkLst>
        </pc:spChg>
        <pc:spChg chg="add del mod">
          <ac:chgData name="SANCHEZ, Ana Belen" userId="edb0bad4-5524-496f-a7b2-a7b260c9d378" providerId="ADAL" clId="{46E80352-2427-413C-A96B-B5680A74A93F}" dt="2020-02-13T23:08:49.884" v="4444" actId="478"/>
          <ac:spMkLst>
            <pc:docMk/>
            <pc:sldMk cId="1579739483" sldId="304"/>
            <ac:spMk id="30" creationId="{2D6DD136-C070-44BA-BC7E-D9431117971F}"/>
          </ac:spMkLst>
        </pc:spChg>
        <pc:spChg chg="add del mod">
          <ac:chgData name="SANCHEZ, Ana Belen" userId="edb0bad4-5524-496f-a7b2-a7b260c9d378" providerId="ADAL" clId="{46E80352-2427-413C-A96B-B5680A74A93F}" dt="2020-02-13T23:08:47.441" v="4443" actId="478"/>
          <ac:spMkLst>
            <pc:docMk/>
            <pc:sldMk cId="1579739483" sldId="304"/>
            <ac:spMk id="31" creationId="{38A0C5F2-CCA2-4734-A59A-185DA7458C33}"/>
          </ac:spMkLst>
        </pc:spChg>
        <pc:spChg chg="add mod">
          <ac:chgData name="SANCHEZ, Ana Belen" userId="edb0bad4-5524-496f-a7b2-a7b260c9d378" providerId="ADAL" clId="{46E80352-2427-413C-A96B-B5680A74A93F}" dt="2020-02-13T23:54:13.380" v="4926" actId="208"/>
          <ac:spMkLst>
            <pc:docMk/>
            <pc:sldMk cId="1579739483" sldId="304"/>
            <ac:spMk id="34" creationId="{F03DBF1A-4ABD-4C5C-8792-16C069EFB776}"/>
          </ac:spMkLst>
        </pc:spChg>
        <pc:spChg chg="add mod">
          <ac:chgData name="SANCHEZ, Ana Belen" userId="edb0bad4-5524-496f-a7b2-a7b260c9d378" providerId="ADAL" clId="{46E80352-2427-413C-A96B-B5680A74A93F}" dt="2020-02-13T23:54:08.642" v="4925" actId="208"/>
          <ac:spMkLst>
            <pc:docMk/>
            <pc:sldMk cId="1579739483" sldId="304"/>
            <ac:spMk id="35" creationId="{D54D07FB-7A1C-4302-9B09-68F2B375BD3C}"/>
          </ac:spMkLst>
        </pc:spChg>
        <pc:spChg chg="add mod">
          <ac:chgData name="SANCHEZ, Ana Belen" userId="edb0bad4-5524-496f-a7b2-a7b260c9d378" providerId="ADAL" clId="{46E80352-2427-413C-A96B-B5680A74A93F}" dt="2020-02-13T23:54:13.380" v="4926" actId="208"/>
          <ac:spMkLst>
            <pc:docMk/>
            <pc:sldMk cId="1579739483" sldId="304"/>
            <ac:spMk id="36" creationId="{B36A844B-EA41-4803-B69F-CBD00529E7E5}"/>
          </ac:spMkLst>
        </pc:spChg>
        <pc:spChg chg="add mod">
          <ac:chgData name="SANCHEZ, Ana Belen" userId="edb0bad4-5524-496f-a7b2-a7b260c9d378" providerId="ADAL" clId="{46E80352-2427-413C-A96B-B5680A74A93F}" dt="2020-02-13T23:54:13.380" v="4926" actId="208"/>
          <ac:spMkLst>
            <pc:docMk/>
            <pc:sldMk cId="1579739483" sldId="304"/>
            <ac:spMk id="37" creationId="{C6A3C1F2-3B81-44EC-8974-E2CDCC1235E5}"/>
          </ac:spMkLst>
        </pc:spChg>
        <pc:spChg chg="add mod">
          <ac:chgData name="SANCHEZ, Ana Belen" userId="edb0bad4-5524-496f-a7b2-a7b260c9d378" providerId="ADAL" clId="{46E80352-2427-413C-A96B-B5680A74A93F}" dt="2020-02-13T23:45:58.123" v="4820" actId="14861"/>
          <ac:spMkLst>
            <pc:docMk/>
            <pc:sldMk cId="1579739483" sldId="304"/>
            <ac:spMk id="38" creationId="{2041CEAE-1017-49FC-92FA-222361F63C21}"/>
          </ac:spMkLst>
        </pc:spChg>
        <pc:spChg chg="add mod">
          <ac:chgData name="SANCHEZ, Ana Belen" userId="edb0bad4-5524-496f-a7b2-a7b260c9d378" providerId="ADAL" clId="{46E80352-2427-413C-A96B-B5680A74A93F}" dt="2020-02-13T23:45:58.123" v="4820" actId="14861"/>
          <ac:spMkLst>
            <pc:docMk/>
            <pc:sldMk cId="1579739483" sldId="304"/>
            <ac:spMk id="39" creationId="{1A7AF3DE-F508-4D80-BE3E-F3548C639F46}"/>
          </ac:spMkLst>
        </pc:spChg>
        <pc:spChg chg="add mod">
          <ac:chgData name="SANCHEZ, Ana Belen" userId="edb0bad4-5524-496f-a7b2-a7b260c9d378" providerId="ADAL" clId="{46E80352-2427-413C-A96B-B5680A74A93F}" dt="2020-02-13T23:45:58.123" v="4820" actId="14861"/>
          <ac:spMkLst>
            <pc:docMk/>
            <pc:sldMk cId="1579739483" sldId="304"/>
            <ac:spMk id="40" creationId="{E3FF1C4B-A025-4735-A09E-7CB51E4E4F3A}"/>
          </ac:spMkLst>
        </pc:spChg>
        <pc:spChg chg="add mod">
          <ac:chgData name="SANCHEZ, Ana Belen" userId="edb0bad4-5524-496f-a7b2-a7b260c9d378" providerId="ADAL" clId="{46E80352-2427-413C-A96B-B5680A74A93F}" dt="2020-02-13T23:45:58.123" v="4820" actId="14861"/>
          <ac:spMkLst>
            <pc:docMk/>
            <pc:sldMk cId="1579739483" sldId="304"/>
            <ac:spMk id="41" creationId="{9B3E0E03-9BD3-4006-BAA3-94983C7BBCAA}"/>
          </ac:spMkLst>
        </pc:spChg>
        <pc:spChg chg="add mod">
          <ac:chgData name="SANCHEZ, Ana Belen" userId="edb0bad4-5524-496f-a7b2-a7b260c9d378" providerId="ADAL" clId="{46E80352-2427-413C-A96B-B5680A74A93F}" dt="2020-02-13T23:57:59.771" v="4964" actId="14100"/>
          <ac:spMkLst>
            <pc:docMk/>
            <pc:sldMk cId="1579739483" sldId="304"/>
            <ac:spMk id="42" creationId="{BE6AC23D-3B3B-45DA-AA73-C8C06FFE0115}"/>
          </ac:spMkLst>
        </pc:spChg>
        <pc:spChg chg="add mod">
          <ac:chgData name="SANCHEZ, Ana Belen" userId="edb0bad4-5524-496f-a7b2-a7b260c9d378" providerId="ADAL" clId="{46E80352-2427-413C-A96B-B5680A74A93F}" dt="2020-02-13T23:51:50.651" v="4884" actId="571"/>
          <ac:spMkLst>
            <pc:docMk/>
            <pc:sldMk cId="1579739483" sldId="304"/>
            <ac:spMk id="46" creationId="{A5185CD4-FFF4-4209-82AF-FF1D75D606FF}"/>
          </ac:spMkLst>
        </pc:spChg>
        <pc:spChg chg="add mod">
          <ac:chgData name="SANCHEZ, Ana Belen" userId="edb0bad4-5524-496f-a7b2-a7b260c9d378" providerId="ADAL" clId="{46E80352-2427-413C-A96B-B5680A74A93F}" dt="2020-02-13T23:51:50.651" v="4884" actId="571"/>
          <ac:spMkLst>
            <pc:docMk/>
            <pc:sldMk cId="1579739483" sldId="304"/>
            <ac:spMk id="47" creationId="{A3D18E73-9992-4C8E-ACD5-AC12150C1B51}"/>
          </ac:spMkLst>
        </pc:spChg>
        <pc:spChg chg="add mod">
          <ac:chgData name="SANCHEZ, Ana Belen" userId="edb0bad4-5524-496f-a7b2-a7b260c9d378" providerId="ADAL" clId="{46E80352-2427-413C-A96B-B5680A74A93F}" dt="2020-02-13T23:51:50.651" v="4884" actId="571"/>
          <ac:spMkLst>
            <pc:docMk/>
            <pc:sldMk cId="1579739483" sldId="304"/>
            <ac:spMk id="48" creationId="{DBC8FD1F-7850-4D85-83E4-E6134A0D3B58}"/>
          </ac:spMkLst>
        </pc:spChg>
        <pc:spChg chg="mod">
          <ac:chgData name="SANCHEZ, Ana Belen" userId="edb0bad4-5524-496f-a7b2-a7b260c9d378" providerId="ADAL" clId="{46E80352-2427-413C-A96B-B5680A74A93F}" dt="2020-02-13T23:56:45.654" v="4938" actId="207"/>
          <ac:spMkLst>
            <pc:docMk/>
            <pc:sldMk cId="1579739483" sldId="304"/>
            <ac:spMk id="50" creationId="{02B68668-A818-48B5-9DA8-65D78C3FCA3E}"/>
          </ac:spMkLst>
        </pc:spChg>
        <pc:spChg chg="add mod">
          <ac:chgData name="SANCHEZ, Ana Belen" userId="edb0bad4-5524-496f-a7b2-a7b260c9d378" providerId="ADAL" clId="{46E80352-2427-413C-A96B-B5680A74A93F}" dt="2020-02-14T07:21:13.911" v="5065" actId="14100"/>
          <ac:spMkLst>
            <pc:docMk/>
            <pc:sldMk cId="1579739483" sldId="304"/>
            <ac:spMk id="58" creationId="{C4D32C2C-F74D-4B14-B976-932F90F4757C}"/>
          </ac:spMkLst>
        </pc:spChg>
        <pc:grpChg chg="add del">
          <ac:chgData name="SANCHEZ, Ana Belen" userId="edb0bad4-5524-496f-a7b2-a7b260c9d378" providerId="ADAL" clId="{46E80352-2427-413C-A96B-B5680A74A93F}" dt="2020-02-13T22:52:23.714" v="4130" actId="478"/>
          <ac:grpSpMkLst>
            <pc:docMk/>
            <pc:sldMk cId="1579739483" sldId="304"/>
            <ac:grpSpMk id="14" creationId="{12D66AF3-39B5-435C-B0AC-F78F951251A8}"/>
          </ac:grpSpMkLst>
        </pc:grpChg>
        <pc:grpChg chg="add del mod">
          <ac:chgData name="SANCHEZ, Ana Belen" userId="edb0bad4-5524-496f-a7b2-a7b260c9d378" providerId="ADAL" clId="{46E80352-2427-413C-A96B-B5680A74A93F}" dt="2020-02-13T22:47:32.616" v="4015" actId="478"/>
          <ac:grpSpMkLst>
            <pc:docMk/>
            <pc:sldMk cId="1579739483" sldId="304"/>
            <ac:grpSpMk id="22" creationId="{785CB245-D26F-47A9-8A93-64DE119D0580}"/>
          </ac:grpSpMkLst>
        </pc:grpChg>
        <pc:grpChg chg="add mod">
          <ac:chgData name="SANCHEZ, Ana Belen" userId="edb0bad4-5524-496f-a7b2-a7b260c9d378" providerId="ADAL" clId="{46E80352-2427-413C-A96B-B5680A74A93F}" dt="2020-02-13T23:55:59.540" v="4932" actId="1076"/>
          <ac:grpSpMkLst>
            <pc:docMk/>
            <pc:sldMk cId="1579739483" sldId="304"/>
            <ac:grpSpMk id="22" creationId="{831FC95D-D27A-4CD9-95BB-A203F21B78BE}"/>
          </ac:grpSpMkLst>
        </pc:grpChg>
        <pc:grpChg chg="mod">
          <ac:chgData name="SANCHEZ, Ana Belen" userId="edb0bad4-5524-496f-a7b2-a7b260c9d378" providerId="ADAL" clId="{46E80352-2427-413C-A96B-B5680A74A93F}" dt="2020-02-13T22:14:40.061" v="4012"/>
          <ac:grpSpMkLst>
            <pc:docMk/>
            <pc:sldMk cId="1579739483" sldId="304"/>
            <ac:grpSpMk id="23" creationId="{20428813-FAF9-4C3A-9FC1-0BCB6D3A7A86}"/>
          </ac:grpSpMkLst>
        </pc:grpChg>
        <pc:grpChg chg="mod">
          <ac:chgData name="SANCHEZ, Ana Belen" userId="edb0bad4-5524-496f-a7b2-a7b260c9d378" providerId="ADAL" clId="{46E80352-2427-413C-A96B-B5680A74A93F}" dt="2020-02-13T22:14:40.061" v="4012"/>
          <ac:grpSpMkLst>
            <pc:docMk/>
            <pc:sldMk cId="1579739483" sldId="304"/>
            <ac:grpSpMk id="24" creationId="{8658C061-5FDD-41BF-9103-967887B0F5EB}"/>
          </ac:grpSpMkLst>
        </pc:grpChg>
        <pc:grpChg chg="mod">
          <ac:chgData name="SANCHEZ, Ana Belen" userId="edb0bad4-5524-496f-a7b2-a7b260c9d378" providerId="ADAL" clId="{46E80352-2427-413C-A96B-B5680A74A93F}" dt="2020-02-13T23:55:59.540" v="4932" actId="1076"/>
          <ac:grpSpMkLst>
            <pc:docMk/>
            <pc:sldMk cId="1579739483" sldId="304"/>
            <ac:grpSpMk id="24" creationId="{C7C14E9F-49A0-4797-A231-83672DB6015D}"/>
          </ac:grpSpMkLst>
        </pc:grpChg>
        <pc:grpChg chg="add mod">
          <ac:chgData name="SANCHEZ, Ana Belen" userId="edb0bad4-5524-496f-a7b2-a7b260c9d378" providerId="ADAL" clId="{46E80352-2427-413C-A96B-B5680A74A93F}" dt="2020-02-13T23:56:20.428" v="4936" actId="1076"/>
          <ac:grpSpMkLst>
            <pc:docMk/>
            <pc:sldMk cId="1579739483" sldId="304"/>
            <ac:grpSpMk id="49" creationId="{D97D38B3-F847-43DA-BB8A-058F09BA6E6D}"/>
          </ac:grpSpMkLst>
        </pc:grpChg>
        <pc:grpChg chg="mod">
          <ac:chgData name="SANCHEZ, Ana Belen" userId="edb0bad4-5524-496f-a7b2-a7b260c9d378" providerId="ADAL" clId="{46E80352-2427-413C-A96B-B5680A74A93F}" dt="2020-02-13T23:56:20.428" v="4936" actId="1076"/>
          <ac:grpSpMkLst>
            <pc:docMk/>
            <pc:sldMk cId="1579739483" sldId="304"/>
            <ac:grpSpMk id="51" creationId="{2DC2998E-CA91-4329-8B37-208762D4B85A}"/>
          </ac:grpSpMkLst>
        </pc:grpChg>
        <pc:graphicFrameChg chg="add mod modGraphic">
          <ac:chgData name="SANCHEZ, Ana Belen" userId="edb0bad4-5524-496f-a7b2-a7b260c9d378" providerId="ADAL" clId="{46E80352-2427-413C-A96B-B5680A74A93F}" dt="2020-02-13T23:56:06.965" v="4935" actId="1076"/>
          <ac:graphicFrameMkLst>
            <pc:docMk/>
            <pc:sldMk cId="1579739483" sldId="304"/>
            <ac:graphicFrameMk id="2" creationId="{50280D4E-0059-440D-A355-E63772B93A4B}"/>
          </ac:graphicFrameMkLst>
        </pc:graphicFrameChg>
        <pc:graphicFrameChg chg="add mod">
          <ac:chgData name="SANCHEZ, Ana Belen" userId="edb0bad4-5524-496f-a7b2-a7b260c9d378" providerId="ADAL" clId="{46E80352-2427-413C-A96B-B5680A74A93F}" dt="2020-02-13T23:36:37.062" v="4763" actId="14100"/>
          <ac:graphicFrameMkLst>
            <pc:docMk/>
            <pc:sldMk cId="1579739483" sldId="304"/>
            <ac:graphicFrameMk id="32" creationId="{484405CA-9743-43C0-A179-1737F972CEA4}"/>
          </ac:graphicFrameMkLst>
        </pc:graphicFrameChg>
        <pc:graphicFrameChg chg="add mod modGraphic">
          <ac:chgData name="SANCHEZ, Ana Belen" userId="edb0bad4-5524-496f-a7b2-a7b260c9d378" providerId="ADAL" clId="{46E80352-2427-413C-A96B-B5680A74A93F}" dt="2020-02-14T08:00:44.345" v="5066"/>
          <ac:graphicFrameMkLst>
            <pc:docMk/>
            <pc:sldMk cId="1579739483" sldId="304"/>
            <ac:graphicFrameMk id="33" creationId="{5A38C9D2-E045-4E2B-BD95-E575D2D916A6}"/>
          </ac:graphicFrameMkLst>
        </pc:graphicFrameChg>
        <pc:cxnChg chg="add del">
          <ac:chgData name="SANCHEZ, Ana Belen" userId="edb0bad4-5524-496f-a7b2-a7b260c9d378" providerId="ADAL" clId="{46E80352-2427-413C-A96B-B5680A74A93F}" dt="2020-02-13T22:52:19.195" v="4129" actId="478"/>
          <ac:cxnSpMkLst>
            <pc:docMk/>
            <pc:sldMk cId="1579739483" sldId="304"/>
            <ac:cxnSpMk id="13" creationId="{C8909927-FDE9-47AB-A0D4-990AB714D32B}"/>
          </ac:cxnSpMkLst>
        </pc:cxnChg>
      </pc:sldChg>
      <pc:sldChg chg="addSp delSp modSp add del">
        <pc:chgData name="SANCHEZ, Ana Belen" userId="edb0bad4-5524-496f-a7b2-a7b260c9d378" providerId="ADAL" clId="{46E80352-2427-413C-A96B-B5680A74A93F}" dt="2020-02-13T16:23:53.135" v="2651" actId="2696"/>
        <pc:sldMkLst>
          <pc:docMk/>
          <pc:sldMk cId="1134615128" sldId="305"/>
        </pc:sldMkLst>
        <pc:spChg chg="mod">
          <ac:chgData name="SANCHEZ, Ana Belen" userId="edb0bad4-5524-496f-a7b2-a7b260c9d378" providerId="ADAL" clId="{46E80352-2427-413C-A96B-B5680A74A93F}" dt="2020-02-13T16:09:08.373" v="2538" actId="1076"/>
          <ac:spMkLst>
            <pc:docMk/>
            <pc:sldMk cId="1134615128" sldId="305"/>
            <ac:spMk id="25" creationId="{A5768FA7-15BA-4751-B68D-D80B43E9F8C5}"/>
          </ac:spMkLst>
        </pc:spChg>
        <pc:grpChg chg="mod">
          <ac:chgData name="SANCHEZ, Ana Belen" userId="edb0bad4-5524-496f-a7b2-a7b260c9d378" providerId="ADAL" clId="{46E80352-2427-413C-A96B-B5680A74A93F}" dt="2020-02-13T16:10:17.571" v="2549" actId="14100"/>
          <ac:grpSpMkLst>
            <pc:docMk/>
            <pc:sldMk cId="1134615128" sldId="305"/>
            <ac:grpSpMk id="14" creationId="{CFB13F46-56CA-4BB1-91DC-F4216D3DEF63}"/>
          </ac:grpSpMkLst>
        </pc:grpChg>
        <pc:grpChg chg="mod">
          <ac:chgData name="SANCHEZ, Ana Belen" userId="edb0bad4-5524-496f-a7b2-a7b260c9d378" providerId="ADAL" clId="{46E80352-2427-413C-A96B-B5680A74A93F}" dt="2020-02-13T16:09:41.467" v="2544" actId="1076"/>
          <ac:grpSpMkLst>
            <pc:docMk/>
            <pc:sldMk cId="1134615128" sldId="305"/>
            <ac:grpSpMk id="22" creationId="{820DD39D-29D5-4CE3-8E37-FBF0531FA5ED}"/>
          </ac:grpSpMkLst>
        </pc:grpChg>
        <pc:cxnChg chg="del mod">
          <ac:chgData name="SANCHEZ, Ana Belen" userId="edb0bad4-5524-496f-a7b2-a7b260c9d378" providerId="ADAL" clId="{46E80352-2427-413C-A96B-B5680A74A93F}" dt="2020-02-13T16:09:37.736" v="2543" actId="478"/>
          <ac:cxnSpMkLst>
            <pc:docMk/>
            <pc:sldMk cId="1134615128" sldId="305"/>
            <ac:cxnSpMk id="13" creationId="{4D725051-01AD-41A5-A990-E64A8E9C6AF6}"/>
          </ac:cxnSpMkLst>
        </pc:cxnChg>
        <pc:cxnChg chg="mod">
          <ac:chgData name="SANCHEZ, Ana Belen" userId="edb0bad4-5524-496f-a7b2-a7b260c9d378" providerId="ADAL" clId="{46E80352-2427-413C-A96B-B5680A74A93F}" dt="2020-02-13T16:09:04.515" v="2537" actId="1076"/>
          <ac:cxnSpMkLst>
            <pc:docMk/>
            <pc:sldMk cId="1134615128" sldId="305"/>
            <ac:cxnSpMk id="26" creationId="{B5152A76-C3A9-4536-8F44-63C02D1C8046}"/>
          </ac:cxnSpMkLst>
        </pc:cxnChg>
        <pc:cxnChg chg="add mod">
          <ac:chgData name="SANCHEZ, Ana Belen" userId="edb0bad4-5524-496f-a7b2-a7b260c9d378" providerId="ADAL" clId="{46E80352-2427-413C-A96B-B5680A74A93F}" dt="2020-02-13T16:09:35.350" v="2542" actId="108"/>
          <ac:cxnSpMkLst>
            <pc:docMk/>
            <pc:sldMk cId="1134615128" sldId="305"/>
            <ac:cxnSpMk id="54" creationId="{FC8818F4-6CD1-4654-81C6-DDF748EE46C2}"/>
          </ac:cxnSpMkLst>
        </pc:cxnChg>
      </pc:sldChg>
      <pc:sldChg chg="addSp delSp modSp add modTransition">
        <pc:chgData name="SANCHEZ, Ana Belen" userId="edb0bad4-5524-496f-a7b2-a7b260c9d378" providerId="ADAL" clId="{46E80352-2427-413C-A96B-B5680A74A93F}" dt="2020-02-13T23:47:45.663" v="4822"/>
        <pc:sldMkLst>
          <pc:docMk/>
          <pc:sldMk cId="2752757873" sldId="306"/>
        </pc:sldMkLst>
        <pc:spChg chg="del">
          <ac:chgData name="SANCHEZ, Ana Belen" userId="edb0bad4-5524-496f-a7b2-a7b260c9d378" providerId="ADAL" clId="{46E80352-2427-413C-A96B-B5680A74A93F}" dt="2020-02-13T16:12:41.891" v="2585" actId="478"/>
          <ac:spMkLst>
            <pc:docMk/>
            <pc:sldMk cId="2752757873" sldId="306"/>
            <ac:spMk id="3" creationId="{762E76CD-800F-4400-8F4B-65CE78B66CCF}"/>
          </ac:spMkLst>
        </pc:spChg>
        <pc:picChg chg="add mod">
          <ac:chgData name="SANCHEZ, Ana Belen" userId="edb0bad4-5524-496f-a7b2-a7b260c9d378" providerId="ADAL" clId="{46E80352-2427-413C-A96B-B5680A74A93F}" dt="2020-02-13T16:12:51.073" v="2589" actId="1076"/>
          <ac:picMkLst>
            <pc:docMk/>
            <pc:sldMk cId="2752757873" sldId="306"/>
            <ac:picMk id="5" creationId="{0B8D5E8E-1750-4068-84DD-696E982296EF}"/>
          </ac:picMkLst>
        </pc:picChg>
        <pc:picChg chg="add mod">
          <ac:chgData name="SANCHEZ, Ana Belen" userId="edb0bad4-5524-496f-a7b2-a7b260c9d378" providerId="ADAL" clId="{46E80352-2427-413C-A96B-B5680A74A93F}" dt="2020-02-13T16:12:47.928" v="2587" actId="1076"/>
          <ac:picMkLst>
            <pc:docMk/>
            <pc:sldMk cId="2752757873" sldId="306"/>
            <ac:picMk id="6" creationId="{98BE2D7A-E955-42DB-8C37-DBDC6433E342}"/>
          </ac:picMkLst>
        </pc:picChg>
        <pc:picChg chg="add mod">
          <ac:chgData name="SANCHEZ, Ana Belen" userId="edb0bad4-5524-496f-a7b2-a7b260c9d378" providerId="ADAL" clId="{46E80352-2427-413C-A96B-B5680A74A93F}" dt="2020-02-13T16:13:12.463" v="2597" actId="14100"/>
          <ac:picMkLst>
            <pc:docMk/>
            <pc:sldMk cId="2752757873" sldId="306"/>
            <ac:picMk id="7" creationId="{C28ACA83-C669-4C2E-BD5F-444FC40E052F}"/>
          </ac:picMkLst>
        </pc:picChg>
        <pc:picChg chg="add mod">
          <ac:chgData name="SANCHEZ, Ana Belen" userId="edb0bad4-5524-496f-a7b2-a7b260c9d378" providerId="ADAL" clId="{46E80352-2427-413C-A96B-B5680A74A93F}" dt="2020-02-13T16:13:24.831" v="2602" actId="1076"/>
          <ac:picMkLst>
            <pc:docMk/>
            <pc:sldMk cId="2752757873" sldId="306"/>
            <ac:picMk id="8" creationId="{95AFE25A-85EF-423C-8AD9-4A4109430608}"/>
          </ac:picMkLst>
        </pc:picChg>
      </pc:sldChg>
      <pc:sldChg chg="addSp delSp modSp add del">
        <pc:chgData name="SANCHEZ, Ana Belen" userId="edb0bad4-5524-496f-a7b2-a7b260c9d378" providerId="ADAL" clId="{46E80352-2427-413C-A96B-B5680A74A93F}" dt="2020-02-13T19:29:51.318" v="3144" actId="2696"/>
        <pc:sldMkLst>
          <pc:docMk/>
          <pc:sldMk cId="1915843494" sldId="307"/>
        </pc:sldMkLst>
        <pc:spChg chg="add mod">
          <ac:chgData name="SANCHEZ, Ana Belen" userId="edb0bad4-5524-496f-a7b2-a7b260c9d378" providerId="ADAL" clId="{46E80352-2427-413C-A96B-B5680A74A93F}" dt="2020-02-13T18:03:40.954" v="2735" actId="1076"/>
          <ac:spMkLst>
            <pc:docMk/>
            <pc:sldMk cId="1915843494" sldId="307"/>
            <ac:spMk id="3" creationId="{35872FEF-242B-4BBE-B034-AC019E5F3B71}"/>
          </ac:spMkLst>
        </pc:spChg>
        <pc:spChg chg="add mod">
          <ac:chgData name="SANCHEZ, Ana Belen" userId="edb0bad4-5524-496f-a7b2-a7b260c9d378" providerId="ADAL" clId="{46E80352-2427-413C-A96B-B5680A74A93F}" dt="2020-02-13T18:03:31.155" v="2732" actId="12"/>
          <ac:spMkLst>
            <pc:docMk/>
            <pc:sldMk cId="1915843494" sldId="307"/>
            <ac:spMk id="4" creationId="{962FCB74-5D97-4815-AD03-6F29E23EF5B7}"/>
          </ac:spMkLst>
        </pc:spChg>
        <pc:spChg chg="mod">
          <ac:chgData name="SANCHEZ, Ana Belen" userId="edb0bad4-5524-496f-a7b2-a7b260c9d378" providerId="ADAL" clId="{46E80352-2427-413C-A96B-B5680A74A93F}" dt="2020-02-13T16:24:33.499" v="2658" actId="1076"/>
          <ac:spMkLst>
            <pc:docMk/>
            <pc:sldMk cId="1915843494" sldId="307"/>
            <ac:spMk id="27" creationId="{CB7B5A04-17D3-4EE1-8978-87CF9DA4C008}"/>
          </ac:spMkLst>
        </pc:spChg>
        <pc:spChg chg="mod ord">
          <ac:chgData name="SANCHEZ, Ana Belen" userId="edb0bad4-5524-496f-a7b2-a7b260c9d378" providerId="ADAL" clId="{46E80352-2427-413C-A96B-B5680A74A93F}" dt="2020-02-13T17:38:46.796" v="2723" actId="1076"/>
          <ac:spMkLst>
            <pc:docMk/>
            <pc:sldMk cId="1915843494" sldId="307"/>
            <ac:spMk id="54" creationId="{66088E3F-69BA-4D70-A25F-6BB9329F5F4D}"/>
          </ac:spMkLst>
        </pc:spChg>
        <pc:spChg chg="add mod">
          <ac:chgData name="SANCHEZ, Ana Belen" userId="edb0bad4-5524-496f-a7b2-a7b260c9d378" providerId="ADAL" clId="{46E80352-2427-413C-A96B-B5680A74A93F}" dt="2020-02-13T17:38:15.923" v="2718" actId="1076"/>
          <ac:spMkLst>
            <pc:docMk/>
            <pc:sldMk cId="1915843494" sldId="307"/>
            <ac:spMk id="55" creationId="{C9CE4D0E-CCC0-484F-B395-6A435E3D4173}"/>
          </ac:spMkLst>
        </pc:spChg>
        <pc:spChg chg="mod ord">
          <ac:chgData name="SANCHEZ, Ana Belen" userId="edb0bad4-5524-496f-a7b2-a7b260c9d378" providerId="ADAL" clId="{46E80352-2427-413C-A96B-B5680A74A93F}" dt="2020-02-13T17:38:56.818" v="2725" actId="1076"/>
          <ac:spMkLst>
            <pc:docMk/>
            <pc:sldMk cId="1915843494" sldId="307"/>
            <ac:spMk id="56" creationId="{7EC08EA4-0548-4A03-8B42-BE2F2937A6AE}"/>
          </ac:spMkLst>
        </pc:spChg>
        <pc:spChg chg="mod ord">
          <ac:chgData name="SANCHEZ, Ana Belen" userId="edb0bad4-5524-496f-a7b2-a7b260c9d378" providerId="ADAL" clId="{46E80352-2427-413C-A96B-B5680A74A93F}" dt="2020-02-13T17:39:00.819" v="2726" actId="1076"/>
          <ac:spMkLst>
            <pc:docMk/>
            <pc:sldMk cId="1915843494" sldId="307"/>
            <ac:spMk id="58" creationId="{4FCCD0D8-63A8-47F2-A4CA-E0188CBADBF6}"/>
          </ac:spMkLst>
        </pc:spChg>
        <pc:grpChg chg="del">
          <ac:chgData name="SANCHEZ, Ana Belen" userId="edb0bad4-5524-496f-a7b2-a7b260c9d378" providerId="ADAL" clId="{46E80352-2427-413C-A96B-B5680A74A93F}" dt="2020-02-13T16:24:11.736" v="2654" actId="478"/>
          <ac:grpSpMkLst>
            <pc:docMk/>
            <pc:sldMk cId="1915843494" sldId="307"/>
            <ac:grpSpMk id="14" creationId="{CFB13F46-56CA-4BB1-91DC-F4216D3DEF63}"/>
          </ac:grpSpMkLst>
        </pc:grpChg>
        <pc:grpChg chg="del mod">
          <ac:chgData name="SANCHEZ, Ana Belen" userId="edb0bad4-5524-496f-a7b2-a7b260c9d378" providerId="ADAL" clId="{46E80352-2427-413C-A96B-B5680A74A93F}" dt="2020-02-13T16:24:44.362" v="2660" actId="478"/>
          <ac:grpSpMkLst>
            <pc:docMk/>
            <pc:sldMk cId="1915843494" sldId="307"/>
            <ac:grpSpMk id="22" creationId="{820DD39D-29D5-4CE3-8E37-FBF0531FA5ED}"/>
          </ac:grpSpMkLst>
        </pc:grpChg>
        <pc:grpChg chg="del">
          <ac:chgData name="SANCHEZ, Ana Belen" userId="edb0bad4-5524-496f-a7b2-a7b260c9d378" providerId="ADAL" clId="{46E80352-2427-413C-A96B-B5680A74A93F}" dt="2020-02-13T16:24:24.826" v="2657" actId="478"/>
          <ac:grpSpMkLst>
            <pc:docMk/>
            <pc:sldMk cId="1915843494" sldId="307"/>
            <ac:grpSpMk id="30" creationId="{E16A4814-5B6D-4B59-9730-B7C1C584B14A}"/>
          </ac:grpSpMkLst>
        </pc:grpChg>
        <pc:grpChg chg="del">
          <ac:chgData name="SANCHEZ, Ana Belen" userId="edb0bad4-5524-496f-a7b2-a7b260c9d378" providerId="ADAL" clId="{46E80352-2427-413C-A96B-B5680A74A93F}" dt="2020-02-13T16:24:17.150" v="2655" actId="478"/>
          <ac:grpSpMkLst>
            <pc:docMk/>
            <pc:sldMk cId="1915843494" sldId="307"/>
            <ac:grpSpMk id="38" creationId="{EE38E944-232B-4A37-BD65-BFE86588EB80}"/>
          </ac:grpSpMkLst>
        </pc:grpChg>
        <pc:grpChg chg="del">
          <ac:chgData name="SANCHEZ, Ana Belen" userId="edb0bad4-5524-496f-a7b2-a7b260c9d378" providerId="ADAL" clId="{46E80352-2427-413C-A96B-B5680A74A93F}" dt="2020-02-13T16:24:21.074" v="2656" actId="478"/>
          <ac:grpSpMkLst>
            <pc:docMk/>
            <pc:sldMk cId="1915843494" sldId="307"/>
            <ac:grpSpMk id="46" creationId="{12CE911F-AA85-47B1-9C65-A4A48010947B}"/>
          </ac:grpSpMkLst>
        </pc:grpChg>
        <pc:picChg chg="add mod">
          <ac:chgData name="SANCHEZ, Ana Belen" userId="edb0bad4-5524-496f-a7b2-a7b260c9d378" providerId="ADAL" clId="{46E80352-2427-413C-A96B-B5680A74A93F}" dt="2020-02-13T18:03:38.243" v="2734" actId="1076"/>
          <ac:picMkLst>
            <pc:docMk/>
            <pc:sldMk cId="1915843494" sldId="307"/>
            <ac:picMk id="2" creationId="{4009E081-2E53-44F4-9937-CAF46B462324}"/>
          </ac:picMkLst>
        </pc:picChg>
        <pc:cxnChg chg="del">
          <ac:chgData name="SANCHEZ, Ana Belen" userId="edb0bad4-5524-496f-a7b2-a7b260c9d378" providerId="ADAL" clId="{46E80352-2427-413C-A96B-B5680A74A93F}" dt="2020-02-13T16:24:08.742" v="2653" actId="478"/>
          <ac:cxnSpMkLst>
            <pc:docMk/>
            <pc:sldMk cId="1915843494" sldId="307"/>
            <ac:cxnSpMk id="13" creationId="{4D725051-01AD-41A5-A990-E64A8E9C6AF6}"/>
          </ac:cxnSpMkLst>
        </pc:cxnChg>
        <pc:cxnChg chg="mod">
          <ac:chgData name="SANCHEZ, Ana Belen" userId="edb0bad4-5524-496f-a7b2-a7b260c9d378" providerId="ADAL" clId="{46E80352-2427-413C-A96B-B5680A74A93F}" dt="2020-02-13T16:24:11.736" v="2654" actId="478"/>
          <ac:cxnSpMkLst>
            <pc:docMk/>
            <pc:sldMk cId="1915843494" sldId="307"/>
            <ac:cxnSpMk id="18" creationId="{841CA6F2-1B7E-4A47-B249-0CB3ABDC2EA5}"/>
          </ac:cxnSpMkLst>
        </pc:cxnChg>
        <pc:cxnChg chg="mod">
          <ac:chgData name="SANCHEZ, Ana Belen" userId="edb0bad4-5524-496f-a7b2-a7b260c9d378" providerId="ADAL" clId="{46E80352-2427-413C-A96B-B5680A74A93F}" dt="2020-02-13T16:24:21.074" v="2656" actId="478"/>
          <ac:cxnSpMkLst>
            <pc:docMk/>
            <pc:sldMk cId="1915843494" sldId="307"/>
            <ac:cxnSpMk id="52" creationId="{14ACE7AA-C120-4BE5-87FF-D9A54221D5DF}"/>
          </ac:cxnSpMkLst>
        </pc:cxnChg>
      </pc:sldChg>
      <pc:sldChg chg="addSp add modTransition">
        <pc:chgData name="SANCHEZ, Ana Belen" userId="edb0bad4-5524-496f-a7b2-a7b260c9d378" providerId="ADAL" clId="{46E80352-2427-413C-A96B-B5680A74A93F}" dt="2020-02-13T23:48:39.178" v="4855"/>
        <pc:sldMkLst>
          <pc:docMk/>
          <pc:sldMk cId="2976804906" sldId="308"/>
        </pc:sldMkLst>
        <pc:grpChg chg="add">
          <ac:chgData name="SANCHEZ, Ana Belen" userId="edb0bad4-5524-496f-a7b2-a7b260c9d378" providerId="ADAL" clId="{46E80352-2427-413C-A96B-B5680A74A93F}" dt="2020-02-13T19:28:55.753" v="3131"/>
          <ac:grpSpMkLst>
            <pc:docMk/>
            <pc:sldMk cId="2976804906" sldId="308"/>
            <ac:grpSpMk id="5" creationId="{108B38A7-E1F6-4B50-AE48-B563D46D2C24}"/>
          </ac:grpSpMkLst>
        </pc:grpChg>
      </pc:sldChg>
      <pc:sldChg chg="delSp modSp">
        <pc:chgData name="SANCHEZ, Ana Belen" userId="edb0bad4-5524-496f-a7b2-a7b260c9d378" providerId="ADAL" clId="{46E80352-2427-413C-A96B-B5680A74A93F}" dt="2020-02-14T08:01:07.521" v="5067" actId="478"/>
        <pc:sldMkLst>
          <pc:docMk/>
          <pc:sldMk cId="2966989272" sldId="351"/>
        </pc:sldMkLst>
        <pc:spChg chg="del">
          <ac:chgData name="SANCHEZ, Ana Belen" userId="edb0bad4-5524-496f-a7b2-a7b260c9d378" providerId="ADAL" clId="{46E80352-2427-413C-A96B-B5680A74A93F}" dt="2020-02-14T08:01:07.521" v="5067" actId="478"/>
          <ac:spMkLst>
            <pc:docMk/>
            <pc:sldMk cId="2966989272" sldId="351"/>
            <ac:spMk id="2" creationId="{303A75A8-FCE0-4121-B68F-DBCEADABDE77}"/>
          </ac:spMkLst>
        </pc:spChg>
        <pc:spChg chg="mod">
          <ac:chgData name="SANCHEZ, Ana Belen" userId="edb0bad4-5524-496f-a7b2-a7b260c9d378" providerId="ADAL" clId="{46E80352-2427-413C-A96B-B5680A74A93F}" dt="2020-02-13T23:49:41.170" v="4879" actId="20577"/>
          <ac:spMkLst>
            <pc:docMk/>
            <pc:sldMk cId="2966989272" sldId="351"/>
            <ac:spMk id="3" creationId="{D8851A46-C6AE-4E73-8B8D-CDC0CD9F32CF}"/>
          </ac:spMkLst>
        </pc:spChg>
      </pc:sldChg>
      <pc:sldMasterChg chg="del delSldLayout">
        <pc:chgData name="SANCHEZ, Ana Belen" userId="edb0bad4-5524-496f-a7b2-a7b260c9d378" providerId="ADAL" clId="{46E80352-2427-413C-A96B-B5680A74A93F}" dt="2020-02-13T23:48:22.959" v="4847" actId="2696"/>
        <pc:sldMasterMkLst>
          <pc:docMk/>
          <pc:sldMasterMk cId="2642789608" sldId="2147483866"/>
        </pc:sldMasterMkLst>
        <pc:sldLayoutChg chg="del">
          <pc:chgData name="SANCHEZ, Ana Belen" userId="edb0bad4-5524-496f-a7b2-a7b260c9d378" providerId="ADAL" clId="{46E80352-2427-413C-A96B-B5680A74A93F}" dt="2020-02-13T23:48:22.862" v="4843" actId="2696"/>
          <pc:sldLayoutMkLst>
            <pc:docMk/>
            <pc:sldMasterMk cId="2642789608" sldId="2147483866"/>
            <pc:sldLayoutMk cId="990797181" sldId="2147483874"/>
          </pc:sldLayoutMkLst>
        </pc:sldLayoutChg>
        <pc:sldLayoutChg chg="del">
          <pc:chgData name="SANCHEZ, Ana Belen" userId="edb0bad4-5524-496f-a7b2-a7b260c9d378" providerId="ADAL" clId="{46E80352-2427-413C-A96B-B5680A74A93F}" dt="2020-02-13T23:48:22.886" v="4844" actId="2696"/>
          <pc:sldLayoutMkLst>
            <pc:docMk/>
            <pc:sldMasterMk cId="2642789608" sldId="2147483866"/>
            <pc:sldLayoutMk cId="2809545554" sldId="2147483875"/>
          </pc:sldLayoutMkLst>
        </pc:sldLayoutChg>
        <pc:sldLayoutChg chg="del">
          <pc:chgData name="SANCHEZ, Ana Belen" userId="edb0bad4-5524-496f-a7b2-a7b260c9d378" providerId="ADAL" clId="{46E80352-2427-413C-A96B-B5680A74A93F}" dt="2020-02-13T23:48:22.909" v="4845" actId="2696"/>
          <pc:sldLayoutMkLst>
            <pc:docMk/>
            <pc:sldMasterMk cId="2642789608" sldId="2147483866"/>
            <pc:sldLayoutMk cId="4127604316" sldId="2147483876"/>
          </pc:sldLayoutMkLst>
        </pc:sldLayoutChg>
        <pc:sldLayoutChg chg="del">
          <pc:chgData name="SANCHEZ, Ana Belen" userId="edb0bad4-5524-496f-a7b2-a7b260c9d378" providerId="ADAL" clId="{46E80352-2427-413C-A96B-B5680A74A93F}" dt="2020-02-13T23:48:22.934" v="4846" actId="2696"/>
          <pc:sldLayoutMkLst>
            <pc:docMk/>
            <pc:sldMasterMk cId="2642789608" sldId="2147483866"/>
            <pc:sldLayoutMk cId="2745471666" sldId="2147483879"/>
          </pc:sldLayoutMkLst>
        </pc:sldLayoutChg>
      </pc:sldMasterChg>
    </pc:docChg>
  </pc:docChgLst>
  <pc:docChgLst>
    <pc:chgData name="SANCHEZ, Ana Belen" userId="edb0bad4-5524-496f-a7b2-a7b260c9d378" providerId="ADAL" clId="{40E2941B-65E7-4F33-81FA-CE1CD9D46442}"/>
    <pc:docChg chg="custSel addSld delSld modSld sldOrd">
      <pc:chgData name="SANCHEZ, Ana Belen" userId="edb0bad4-5524-496f-a7b2-a7b260c9d378" providerId="ADAL" clId="{40E2941B-65E7-4F33-81FA-CE1CD9D46442}" dt="2020-02-12T12:54:06.918" v="122" actId="20577"/>
      <pc:docMkLst>
        <pc:docMk/>
      </pc:docMkLst>
      <pc:sldChg chg="addSp delSp modSp">
        <pc:chgData name="SANCHEZ, Ana Belen" userId="edb0bad4-5524-496f-a7b2-a7b260c9d378" providerId="ADAL" clId="{40E2941B-65E7-4F33-81FA-CE1CD9D46442}" dt="2020-02-12T12:15:43.314" v="27"/>
        <pc:sldMkLst>
          <pc:docMk/>
          <pc:sldMk cId="0" sldId="264"/>
        </pc:sldMkLst>
        <pc:spChg chg="add del mod">
          <ac:chgData name="SANCHEZ, Ana Belen" userId="edb0bad4-5524-496f-a7b2-a7b260c9d378" providerId="ADAL" clId="{40E2941B-65E7-4F33-81FA-CE1CD9D46442}" dt="2020-02-12T07:24:12.510" v="5" actId="478"/>
          <ac:spMkLst>
            <pc:docMk/>
            <pc:sldMk cId="0" sldId="264"/>
            <ac:spMk id="3" creationId="{E953C928-5B8A-43B7-9E60-54A64E741B73}"/>
          </ac:spMkLst>
        </pc:spChg>
        <pc:spChg chg="mod">
          <ac:chgData name="SANCHEZ, Ana Belen" userId="edb0bad4-5524-496f-a7b2-a7b260c9d378" providerId="ADAL" clId="{40E2941B-65E7-4F33-81FA-CE1CD9D46442}" dt="2020-02-12T10:33:04.479" v="23" actId="1076"/>
          <ac:spMkLst>
            <pc:docMk/>
            <pc:sldMk cId="0" sldId="264"/>
            <ac:spMk id="4" creationId="{00000000-0000-0000-0000-000000000000}"/>
          </ac:spMkLst>
        </pc:spChg>
        <pc:spChg chg="del">
          <ac:chgData name="SANCHEZ, Ana Belen" userId="edb0bad4-5524-496f-a7b2-a7b260c9d378" providerId="ADAL" clId="{40E2941B-65E7-4F33-81FA-CE1CD9D46442}" dt="2020-02-12T07:24:09.664" v="4" actId="478"/>
          <ac:spMkLst>
            <pc:docMk/>
            <pc:sldMk cId="0" sldId="264"/>
            <ac:spMk id="5" creationId="{00000000-0000-0000-0000-000000000000}"/>
          </ac:spMkLst>
        </pc:spChg>
        <pc:spChg chg="add">
          <ac:chgData name="SANCHEZ, Ana Belen" userId="edb0bad4-5524-496f-a7b2-a7b260c9d378" providerId="ADAL" clId="{40E2941B-65E7-4F33-81FA-CE1CD9D46442}" dt="2020-02-12T12:15:43.314" v="27"/>
          <ac:spMkLst>
            <pc:docMk/>
            <pc:sldMk cId="0" sldId="264"/>
            <ac:spMk id="8" creationId="{EA3489C4-81A5-4344-B164-AA7B88439F8C}"/>
          </ac:spMkLst>
        </pc:spChg>
        <pc:picChg chg="add mod ord">
          <ac:chgData name="SANCHEZ, Ana Belen" userId="edb0bad4-5524-496f-a7b2-a7b260c9d378" providerId="ADAL" clId="{40E2941B-65E7-4F33-81FA-CE1CD9D46442}" dt="2020-02-12T10:33:43.075" v="26"/>
          <ac:picMkLst>
            <pc:docMk/>
            <pc:sldMk cId="0" sldId="264"/>
            <ac:picMk id="6" creationId="{1D80111D-5523-4323-B3AE-84E5A1FDBB69}"/>
          </ac:picMkLst>
        </pc:picChg>
        <pc:picChg chg="add mod">
          <ac:chgData name="SANCHEZ, Ana Belen" userId="edb0bad4-5524-496f-a7b2-a7b260c9d378" providerId="ADAL" clId="{40E2941B-65E7-4F33-81FA-CE1CD9D46442}" dt="2020-02-12T10:33:05.918" v="24" actId="1076"/>
          <ac:picMkLst>
            <pc:docMk/>
            <pc:sldMk cId="0" sldId="264"/>
            <ac:picMk id="7" creationId="{C68EBC37-226B-44B2-ABA3-54CF6F92840F}"/>
          </ac:picMkLst>
        </pc:picChg>
      </pc:sldChg>
      <pc:sldChg chg="modSp">
        <pc:chgData name="SANCHEZ, Ana Belen" userId="edb0bad4-5524-496f-a7b2-a7b260c9d378" providerId="ADAL" clId="{40E2941B-65E7-4F33-81FA-CE1CD9D46442}" dt="2020-02-12T10:30:23.614" v="8" actId="1076"/>
        <pc:sldMkLst>
          <pc:docMk/>
          <pc:sldMk cId="3986561876" sldId="293"/>
        </pc:sldMkLst>
        <pc:grpChg chg="mod">
          <ac:chgData name="SANCHEZ, Ana Belen" userId="edb0bad4-5524-496f-a7b2-a7b260c9d378" providerId="ADAL" clId="{40E2941B-65E7-4F33-81FA-CE1CD9D46442}" dt="2020-02-12T10:30:23.614" v="8" actId="1076"/>
          <ac:grpSpMkLst>
            <pc:docMk/>
            <pc:sldMk cId="3986561876" sldId="293"/>
            <ac:grpSpMk id="597" creationId="{00000000-0000-0000-0000-000000000000}"/>
          </ac:grpSpMkLst>
        </pc:grpChg>
      </pc:sldChg>
      <pc:sldChg chg="add">
        <pc:chgData name="SANCHEZ, Ana Belen" userId="edb0bad4-5524-496f-a7b2-a7b260c9d378" providerId="ADAL" clId="{40E2941B-65E7-4F33-81FA-CE1CD9D46442}" dt="2020-02-12T07:24:02.556" v="3"/>
        <pc:sldMkLst>
          <pc:docMk/>
          <pc:sldMk cId="1911492172" sldId="295"/>
        </pc:sldMkLst>
      </pc:sldChg>
      <pc:sldChg chg="add del">
        <pc:chgData name="SANCHEZ, Ana Belen" userId="edb0bad4-5524-496f-a7b2-a7b260c9d378" providerId="ADAL" clId="{40E2941B-65E7-4F33-81FA-CE1CD9D46442}" dt="2020-02-12T07:23:49.796" v="1" actId="2696"/>
        <pc:sldMkLst>
          <pc:docMk/>
          <pc:sldMk cId="2187857598" sldId="295"/>
        </pc:sldMkLst>
      </pc:sldChg>
      <pc:sldChg chg="add del">
        <pc:chgData name="SANCHEZ, Ana Belen" userId="edb0bad4-5524-496f-a7b2-a7b260c9d378" providerId="ADAL" clId="{40E2941B-65E7-4F33-81FA-CE1CD9D46442}" dt="2020-02-12T12:15:57.498" v="29" actId="2696"/>
        <pc:sldMkLst>
          <pc:docMk/>
          <pc:sldMk cId="3498463767" sldId="296"/>
        </pc:sldMkLst>
      </pc:sldChg>
      <pc:sldChg chg="addSp delSp modSp">
        <pc:chgData name="SANCHEZ, Ana Belen" userId="edb0bad4-5524-496f-a7b2-a7b260c9d378" providerId="ADAL" clId="{40E2941B-65E7-4F33-81FA-CE1CD9D46442}" dt="2020-02-12T12:30:40.282" v="106" actId="1076"/>
        <pc:sldMkLst>
          <pc:docMk/>
          <pc:sldMk cId="3945145866" sldId="296"/>
        </pc:sldMkLst>
        <pc:spChg chg="add mod">
          <ac:chgData name="SANCHEZ, Ana Belen" userId="edb0bad4-5524-496f-a7b2-a7b260c9d378" providerId="ADAL" clId="{40E2941B-65E7-4F33-81FA-CE1CD9D46442}" dt="2020-02-12T12:18:35.387" v="74" actId="1076"/>
          <ac:spMkLst>
            <pc:docMk/>
            <pc:sldMk cId="3945145866" sldId="296"/>
            <ac:spMk id="2" creationId="{8AA8368F-6149-4FDF-8CBC-9B7763874578}"/>
          </ac:spMkLst>
        </pc:spChg>
        <pc:spChg chg="add mod">
          <ac:chgData name="SANCHEZ, Ana Belen" userId="edb0bad4-5524-496f-a7b2-a7b260c9d378" providerId="ADAL" clId="{40E2941B-65E7-4F33-81FA-CE1CD9D46442}" dt="2020-02-12T12:24:46.424" v="95" actId="20577"/>
          <ac:spMkLst>
            <pc:docMk/>
            <pc:sldMk cId="3945145866" sldId="296"/>
            <ac:spMk id="3" creationId="{C625E7E7-E125-4780-8014-5E3E23714919}"/>
          </ac:spMkLst>
        </pc:spChg>
        <pc:spChg chg="mod">
          <ac:chgData name="SANCHEZ, Ana Belen" userId="edb0bad4-5524-496f-a7b2-a7b260c9d378" providerId="ADAL" clId="{40E2941B-65E7-4F33-81FA-CE1CD9D46442}" dt="2020-02-12T12:16:26.811" v="39" actId="20577"/>
          <ac:spMkLst>
            <pc:docMk/>
            <pc:sldMk cId="3945145866" sldId="296"/>
            <ac:spMk id="4" creationId="{00000000-0000-0000-0000-000000000000}"/>
          </ac:spMkLst>
        </pc:spChg>
        <pc:spChg chg="del mod">
          <ac:chgData name="SANCHEZ, Ana Belen" userId="edb0bad4-5524-496f-a7b2-a7b260c9d378" providerId="ADAL" clId="{40E2941B-65E7-4F33-81FA-CE1CD9D46442}" dt="2020-02-12T12:17:45.392" v="40" actId="478"/>
          <ac:spMkLst>
            <pc:docMk/>
            <pc:sldMk cId="3945145866" sldId="296"/>
            <ac:spMk id="5" creationId="{00000000-0000-0000-0000-000000000000}"/>
          </ac:spMkLst>
        </pc:spChg>
        <pc:picChg chg="add">
          <ac:chgData name="SANCHEZ, Ana Belen" userId="edb0bad4-5524-496f-a7b2-a7b260c9d378" providerId="ADAL" clId="{40E2941B-65E7-4F33-81FA-CE1CD9D46442}" dt="2020-02-12T12:25:21.605" v="96"/>
          <ac:picMkLst>
            <pc:docMk/>
            <pc:sldMk cId="3945145866" sldId="296"/>
            <ac:picMk id="6" creationId="{DB5EEAED-48DA-48A2-B402-85E0751763D6}"/>
          </ac:picMkLst>
        </pc:picChg>
        <pc:picChg chg="add mod">
          <ac:chgData name="SANCHEZ, Ana Belen" userId="edb0bad4-5524-496f-a7b2-a7b260c9d378" providerId="ADAL" clId="{40E2941B-65E7-4F33-81FA-CE1CD9D46442}" dt="2020-02-12T12:28:34.091" v="98" actId="1076"/>
          <ac:picMkLst>
            <pc:docMk/>
            <pc:sldMk cId="3945145866" sldId="296"/>
            <ac:picMk id="7" creationId="{4211B496-E71E-4E20-96C7-428422C9BDF5}"/>
          </ac:picMkLst>
        </pc:picChg>
        <pc:picChg chg="add mod">
          <ac:chgData name="SANCHEZ, Ana Belen" userId="edb0bad4-5524-496f-a7b2-a7b260c9d378" providerId="ADAL" clId="{40E2941B-65E7-4F33-81FA-CE1CD9D46442}" dt="2020-02-12T12:29:01.162" v="100" actId="1076"/>
          <ac:picMkLst>
            <pc:docMk/>
            <pc:sldMk cId="3945145866" sldId="296"/>
            <ac:picMk id="8" creationId="{ACBBD07E-F2B2-413E-AC65-ECA75E024BDF}"/>
          </ac:picMkLst>
        </pc:picChg>
        <pc:picChg chg="add mod">
          <ac:chgData name="SANCHEZ, Ana Belen" userId="edb0bad4-5524-496f-a7b2-a7b260c9d378" providerId="ADAL" clId="{40E2941B-65E7-4F33-81FA-CE1CD9D46442}" dt="2020-02-12T12:29:41.074" v="103" actId="1076"/>
          <ac:picMkLst>
            <pc:docMk/>
            <pc:sldMk cId="3945145866" sldId="296"/>
            <ac:picMk id="9" creationId="{2B639250-147A-462D-A6ED-CB2538D4A578}"/>
          </ac:picMkLst>
        </pc:picChg>
        <pc:picChg chg="add mod">
          <ac:chgData name="SANCHEZ, Ana Belen" userId="edb0bad4-5524-496f-a7b2-a7b260c9d378" providerId="ADAL" clId="{40E2941B-65E7-4F33-81FA-CE1CD9D46442}" dt="2020-02-12T12:30:40.282" v="106" actId="1076"/>
          <ac:picMkLst>
            <pc:docMk/>
            <pc:sldMk cId="3945145866" sldId="296"/>
            <ac:picMk id="10" creationId="{5C56F691-B1A6-4C45-A9B7-82259979CEC0}"/>
          </ac:picMkLst>
        </pc:picChg>
      </pc:sldChg>
      <pc:sldChg chg="delSp modSp add ord">
        <pc:chgData name="SANCHEZ, Ana Belen" userId="edb0bad4-5524-496f-a7b2-a7b260c9d378" providerId="ADAL" clId="{40E2941B-65E7-4F33-81FA-CE1CD9D46442}" dt="2020-02-12T12:54:06.918" v="122" actId="20577"/>
        <pc:sldMkLst>
          <pc:docMk/>
          <pc:sldMk cId="3134657256" sldId="297"/>
        </pc:sldMkLst>
        <pc:spChg chg="mod">
          <ac:chgData name="SANCHEZ, Ana Belen" userId="edb0bad4-5524-496f-a7b2-a7b260c9d378" providerId="ADAL" clId="{40E2941B-65E7-4F33-81FA-CE1CD9D46442}" dt="2020-02-12T12:54:06.918" v="122" actId="20577"/>
          <ac:spMkLst>
            <pc:docMk/>
            <pc:sldMk cId="3134657256" sldId="297"/>
            <ac:spMk id="4" creationId="{00000000-0000-0000-0000-000000000000}"/>
          </ac:spMkLst>
        </pc:spChg>
        <pc:picChg chg="del">
          <ac:chgData name="SANCHEZ, Ana Belen" userId="edb0bad4-5524-496f-a7b2-a7b260c9d378" providerId="ADAL" clId="{40E2941B-65E7-4F33-81FA-CE1CD9D46442}" dt="2020-02-12T12:54:00.830" v="112" actId="478"/>
          <ac:picMkLst>
            <pc:docMk/>
            <pc:sldMk cId="3134657256" sldId="297"/>
            <ac:picMk id="6" creationId="{1D80111D-5523-4323-B3AE-84E5A1FDBB69}"/>
          </ac:picMkLst>
        </pc:picChg>
        <pc:picChg chg="del">
          <ac:chgData name="SANCHEZ, Ana Belen" userId="edb0bad4-5524-496f-a7b2-a7b260c9d378" providerId="ADAL" clId="{40E2941B-65E7-4F33-81FA-CE1CD9D46442}" dt="2020-02-12T12:53:58.275" v="111" actId="478"/>
          <ac:picMkLst>
            <pc:docMk/>
            <pc:sldMk cId="3134657256" sldId="297"/>
            <ac:picMk id="7" creationId="{C68EBC37-226B-44B2-ABA3-54CF6F92840F}"/>
          </ac:picMkLst>
        </pc:picChg>
      </pc:sldChg>
      <pc:sldChg chg="del">
        <pc:chgData name="SANCHEZ, Ana Belen" userId="edb0bad4-5524-496f-a7b2-a7b260c9d378" providerId="ADAL" clId="{40E2941B-65E7-4F33-81FA-CE1CD9D46442}" dt="2020-02-12T12:53:45.542" v="107" actId="2696"/>
        <pc:sldMkLst>
          <pc:docMk/>
          <pc:sldMk cId="3489699835" sldId="297"/>
        </pc:sldMkLst>
      </pc:sldChg>
      <pc:sldMasterChg chg="delSldLayout">
        <pc:chgData name="SANCHEZ, Ana Belen" userId="edb0bad4-5524-496f-a7b2-a7b260c9d378" providerId="ADAL" clId="{40E2941B-65E7-4F33-81FA-CE1CD9D46442}" dt="2020-02-12T12:53:45.544" v="108" actId="2696"/>
        <pc:sldMasterMkLst>
          <pc:docMk/>
          <pc:sldMasterMk cId="2458042863" sldId="2147483838"/>
        </pc:sldMasterMkLst>
        <pc:sldLayoutChg chg="del">
          <pc:chgData name="SANCHEZ, Ana Belen" userId="edb0bad4-5524-496f-a7b2-a7b260c9d378" providerId="ADAL" clId="{40E2941B-65E7-4F33-81FA-CE1CD9D46442}" dt="2020-02-12T07:23:49.798" v="2" actId="2696"/>
          <pc:sldLayoutMkLst>
            <pc:docMk/>
            <pc:sldMasterMk cId="2458042863" sldId="2147483838"/>
            <pc:sldLayoutMk cId="873715453" sldId="2147483880"/>
          </pc:sldLayoutMkLst>
        </pc:sldLayoutChg>
        <pc:sldLayoutChg chg="del">
          <pc:chgData name="SANCHEZ, Ana Belen" userId="edb0bad4-5524-496f-a7b2-a7b260c9d378" providerId="ADAL" clId="{40E2941B-65E7-4F33-81FA-CE1CD9D46442}" dt="2020-02-12T12:53:45.544" v="108" actId="2696"/>
          <pc:sldLayoutMkLst>
            <pc:docMk/>
            <pc:sldMasterMk cId="2458042863" sldId="2147483838"/>
            <pc:sldLayoutMk cId="1772417534" sldId="2147483880"/>
          </pc:sldLayoutMkLst>
        </pc:sldLayoutChg>
        <pc:sldLayoutChg chg="del">
          <pc:chgData name="SANCHEZ, Ana Belen" userId="edb0bad4-5524-496f-a7b2-a7b260c9d378" providerId="ADAL" clId="{40E2941B-65E7-4F33-81FA-CE1CD9D46442}" dt="2020-02-12T12:15:57.500" v="30" actId="2696"/>
          <pc:sldLayoutMkLst>
            <pc:docMk/>
            <pc:sldMasterMk cId="2458042863" sldId="2147483838"/>
            <pc:sldLayoutMk cId="2302598321" sldId="2147483880"/>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0070C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00B0F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00206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chemeClr val="accent4">
            <a:lumMod val="75000"/>
          </a:schemeClr>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2D05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80B8D6"/>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88D5ED"/>
        </a:solidFill>
        <a:ln>
          <a:solidFill>
            <a:srgbClr val="80B8D6"/>
          </a:solid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chemeClr val="accent6">
            <a:lumMod val="50000"/>
          </a:schemeClr>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0F999C"/>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chemeClr val="accent6">
            <a:lumMod val="75000"/>
          </a:schemeClr>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00B05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C7FF17"/>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2886" y="211774"/>
          <a:ext cx="710844" cy="284337"/>
        </a:xfrm>
        <a:prstGeom prst="chevron">
          <a:avLst/>
        </a:prstGeom>
        <a:solidFill>
          <a:srgbClr val="0070C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45055" y="211774"/>
        <a:ext cx="426507" cy="284337"/>
      </dsp:txXfrm>
    </dsp:sp>
    <dsp:sp modelId="{AE43D2F4-E066-43DD-A51F-54768B31D8F7}">
      <dsp:nvSpPr>
        <dsp:cNvPr id="0" name=""/>
        <dsp:cNvSpPr/>
      </dsp:nvSpPr>
      <dsp:spPr>
        <a:xfrm>
          <a:off x="642647" y="211774"/>
          <a:ext cx="710844" cy="284337"/>
        </a:xfrm>
        <a:prstGeom prst="chevron">
          <a:avLst/>
        </a:prstGeom>
        <a:solidFill>
          <a:srgbClr val="00B0F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784816" y="211774"/>
        <a:ext cx="426507" cy="284337"/>
      </dsp:txXfrm>
    </dsp:sp>
    <dsp:sp modelId="{3463B6B8-78B7-4A47-8DC0-96832BECA9F3}">
      <dsp:nvSpPr>
        <dsp:cNvPr id="0" name=""/>
        <dsp:cNvSpPr/>
      </dsp:nvSpPr>
      <dsp:spPr>
        <a:xfrm>
          <a:off x="1282407" y="211774"/>
          <a:ext cx="710844" cy="284337"/>
        </a:xfrm>
        <a:prstGeom prst="chevron">
          <a:avLst/>
        </a:prstGeom>
        <a:solidFill>
          <a:srgbClr val="00206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424576" y="211774"/>
        <a:ext cx="426507" cy="284337"/>
      </dsp:txXfrm>
    </dsp:sp>
    <dsp:sp modelId="{571B7F73-FA6F-40DA-9CDC-9E2646942D82}">
      <dsp:nvSpPr>
        <dsp:cNvPr id="0" name=""/>
        <dsp:cNvSpPr/>
      </dsp:nvSpPr>
      <dsp:spPr>
        <a:xfrm>
          <a:off x="1922167" y="211774"/>
          <a:ext cx="710844" cy="284337"/>
        </a:xfrm>
        <a:prstGeom prst="chevron">
          <a:avLst/>
        </a:prstGeom>
        <a:solidFill>
          <a:schemeClr val="accent4">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2064336" y="211774"/>
        <a:ext cx="426507" cy="284337"/>
      </dsp:txXfrm>
    </dsp:sp>
    <dsp:sp modelId="{80822898-6590-4A10-B3EC-F724FA0FACFE}">
      <dsp:nvSpPr>
        <dsp:cNvPr id="0" name=""/>
        <dsp:cNvSpPr/>
      </dsp:nvSpPr>
      <dsp:spPr>
        <a:xfrm>
          <a:off x="2561928" y="211774"/>
          <a:ext cx="710844" cy="284337"/>
        </a:xfrm>
        <a:prstGeom prst="chevron">
          <a:avLst/>
        </a:prstGeom>
        <a:solidFill>
          <a:srgbClr val="92D05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a:t>
          </a:r>
        </a:p>
      </dsp:txBody>
      <dsp:txXfrm>
        <a:off x="2704097" y="211774"/>
        <a:ext cx="426507" cy="284337"/>
      </dsp:txXfrm>
    </dsp:sp>
    <dsp:sp modelId="{3FE731B8-7460-462D-AD93-CA99F5C17993}">
      <dsp:nvSpPr>
        <dsp:cNvPr id="0" name=""/>
        <dsp:cNvSpPr/>
      </dsp:nvSpPr>
      <dsp:spPr>
        <a:xfrm>
          <a:off x="3201688" y="211774"/>
          <a:ext cx="710844" cy="284337"/>
        </a:xfrm>
        <a:prstGeom prst="chevron">
          <a:avLst/>
        </a:prstGeom>
        <a:solidFill>
          <a:srgbClr val="80B8D6"/>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6</a:t>
          </a:r>
        </a:p>
      </dsp:txBody>
      <dsp:txXfrm>
        <a:off x="3343857" y="211774"/>
        <a:ext cx="426507" cy="284337"/>
      </dsp:txXfrm>
    </dsp:sp>
    <dsp:sp modelId="{378651A3-5EFA-4DE1-8ECE-2D26DC02264B}">
      <dsp:nvSpPr>
        <dsp:cNvPr id="0" name=""/>
        <dsp:cNvSpPr/>
      </dsp:nvSpPr>
      <dsp:spPr>
        <a:xfrm>
          <a:off x="3841448" y="211774"/>
          <a:ext cx="710844" cy="284337"/>
        </a:xfrm>
        <a:prstGeom prst="chevron">
          <a:avLst/>
        </a:prstGeom>
        <a:solidFill>
          <a:srgbClr val="88D5ED"/>
        </a:solidFill>
        <a:ln w="12700" cap="flat" cmpd="sng" algn="ctr">
          <a:solidFill>
            <a:srgbClr val="80B8D6"/>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7</a:t>
          </a:r>
        </a:p>
      </dsp:txBody>
      <dsp:txXfrm>
        <a:off x="3983617" y="211774"/>
        <a:ext cx="426507" cy="284337"/>
      </dsp:txXfrm>
    </dsp:sp>
    <dsp:sp modelId="{CBF85DBC-6958-46B3-8486-210441D9CAB7}">
      <dsp:nvSpPr>
        <dsp:cNvPr id="0" name=""/>
        <dsp:cNvSpPr/>
      </dsp:nvSpPr>
      <dsp:spPr>
        <a:xfrm>
          <a:off x="4481209" y="211774"/>
          <a:ext cx="710844" cy="284337"/>
        </a:xfrm>
        <a:prstGeom prst="chevron">
          <a:avLst/>
        </a:prstGeom>
        <a:solidFill>
          <a:schemeClr val="accent6">
            <a:lumMod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a:t>
          </a:r>
        </a:p>
      </dsp:txBody>
      <dsp:txXfrm>
        <a:off x="4623378" y="211774"/>
        <a:ext cx="426507" cy="284337"/>
      </dsp:txXfrm>
    </dsp:sp>
    <dsp:sp modelId="{790B2AE0-AF78-414A-BC58-9F9DD3793BC1}">
      <dsp:nvSpPr>
        <dsp:cNvPr id="0" name=""/>
        <dsp:cNvSpPr/>
      </dsp:nvSpPr>
      <dsp:spPr>
        <a:xfrm>
          <a:off x="5120969" y="211774"/>
          <a:ext cx="710844" cy="284337"/>
        </a:xfrm>
        <a:prstGeom prst="chevron">
          <a:avLst/>
        </a:prstGeom>
        <a:solidFill>
          <a:srgbClr val="0F999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9</a:t>
          </a:r>
        </a:p>
      </dsp:txBody>
      <dsp:txXfrm>
        <a:off x="5263138" y="211774"/>
        <a:ext cx="426507" cy="284337"/>
      </dsp:txXfrm>
    </dsp:sp>
    <dsp:sp modelId="{7EF8B96B-DA16-464E-8B0C-F2875C186912}">
      <dsp:nvSpPr>
        <dsp:cNvPr id="0" name=""/>
        <dsp:cNvSpPr/>
      </dsp:nvSpPr>
      <dsp:spPr>
        <a:xfrm>
          <a:off x="5760729" y="211774"/>
          <a:ext cx="710844" cy="284337"/>
        </a:xfrm>
        <a:prstGeom prst="chevron">
          <a:avLst/>
        </a:prstGeom>
        <a:solidFill>
          <a:schemeClr val="accent6">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0</a:t>
          </a:r>
        </a:p>
      </dsp:txBody>
      <dsp:txXfrm>
        <a:off x="5902898" y="211774"/>
        <a:ext cx="426507" cy="284337"/>
      </dsp:txXfrm>
    </dsp:sp>
    <dsp:sp modelId="{383AC0A2-6E1E-4D81-AC1D-9FB0CBC3A3EA}">
      <dsp:nvSpPr>
        <dsp:cNvPr id="0" name=""/>
        <dsp:cNvSpPr/>
      </dsp:nvSpPr>
      <dsp:spPr>
        <a:xfrm>
          <a:off x="6400489" y="211774"/>
          <a:ext cx="710844" cy="284337"/>
        </a:xfrm>
        <a:prstGeom prst="chevron">
          <a:avLst/>
        </a:prstGeom>
        <a:solidFill>
          <a:srgbClr val="00B05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1</a:t>
          </a:r>
        </a:p>
      </dsp:txBody>
      <dsp:txXfrm>
        <a:off x="6542658" y="211774"/>
        <a:ext cx="426507" cy="284337"/>
      </dsp:txXfrm>
    </dsp:sp>
    <dsp:sp modelId="{7C6EA6C0-116C-4575-A329-19B523129479}">
      <dsp:nvSpPr>
        <dsp:cNvPr id="0" name=""/>
        <dsp:cNvSpPr/>
      </dsp:nvSpPr>
      <dsp:spPr>
        <a:xfrm>
          <a:off x="7040250" y="211774"/>
          <a:ext cx="710844" cy="284337"/>
        </a:xfrm>
        <a:prstGeom prst="chevron">
          <a:avLst/>
        </a:prstGeom>
        <a:solidFill>
          <a:srgbClr val="C7FF1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2</a:t>
          </a:r>
        </a:p>
      </dsp:txBody>
      <dsp:txXfrm>
        <a:off x="7182419" y="211774"/>
        <a:ext cx="426507" cy="28433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4/02/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4/02/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400" dirty="0"/>
              <a:t>Dans le </a:t>
            </a:r>
            <a:r>
              <a:rPr lang="fr-FR" sz="300" dirty="0"/>
              <a:t>contexte de l’industrie ,il y a des </a:t>
            </a:r>
            <a:r>
              <a:rPr lang="fr-FR" sz="300" dirty="0" err="1"/>
              <a:t>epoques</a:t>
            </a:r>
            <a:r>
              <a:rPr lang="fr-FR" sz="300" dirty="0"/>
              <a:t> qui </a:t>
            </a:r>
            <a:r>
              <a:rPr lang="fr-FR" sz="300" dirty="0" err="1"/>
              <a:t>represent</a:t>
            </a:r>
            <a:r>
              <a:rPr lang="fr-FR" sz="300" dirty="0"/>
              <a:t> vraiment un changement de paradigme/point d’inflexion au niveau </a:t>
            </a:r>
            <a:r>
              <a:rPr lang="fr-FR" sz="400" dirty="0"/>
              <a:t>de la conception de produit , le marché.</a:t>
            </a:r>
          </a:p>
          <a:p>
            <a:r>
              <a:rPr lang="fr-FR" sz="400" dirty="0" err="1"/>
              <a:t>Actuallement</a:t>
            </a:r>
            <a:r>
              <a:rPr lang="fr-FR" sz="400" dirty="0"/>
              <a:t> , on est </a:t>
            </a:r>
            <a:r>
              <a:rPr lang="fr-FR" sz="400" dirty="0" err="1"/>
              <a:t>temoin</a:t>
            </a:r>
            <a:r>
              <a:rPr lang="fr-FR" sz="400" dirty="0"/>
              <a:t> de la </a:t>
            </a:r>
            <a:r>
              <a:rPr lang="fr-FR" sz="400" dirty="0" err="1"/>
              <a:t>rev</a:t>
            </a:r>
            <a:r>
              <a:rPr lang="fr-FR" sz="400" dirty="0"/>
              <a:t> de nouvelles </a:t>
            </a:r>
            <a:r>
              <a:rPr lang="fr-FR" sz="400" dirty="0" err="1"/>
              <a:t>techn</a:t>
            </a:r>
            <a:r>
              <a:rPr lang="fr-FR" sz="400" dirty="0"/>
              <a:t>. </a:t>
            </a:r>
          </a:p>
          <a:p>
            <a:r>
              <a:rPr lang="fr-FR" sz="400" b="0" i="1" dirty="0">
                <a:solidFill>
                  <a:srgbClr val="333333"/>
                </a:solidFill>
                <a:effectLst/>
                <a:latin typeface="Arial" panose="020B0604020202020204" pitchFamily="34" charset="0"/>
              </a:rPr>
              <a:t>Aujourd’hui, il n’est plus question qu’un moyen de production produise à la chaîne (ou plutôt reproduise) un produit des milliers de fois. Nous sommes entrés dans l’ère de la personnalisation des produits. Le consommateur veut un produit complètement personnalisé, qui ne ressemble pas à celui de son voisin. L’industrie 4.0 s’engage à répondre à cette exigence de produits uniques et personnalisés tout en conservant des coûts équivalents, et cela malgré les faibles volumes de production engendrés. C’est pourquoi l’un des défis de cette 4ème révolution industrielle est de réussir à connecter le besoin du client à l’organe de production. Cette connexion ne peut se faire sans l’apport des nouvelles technologies, qui devront être exploitées dans cette “nouvelle usine”</a:t>
            </a:r>
            <a:endParaRPr lang="fr-FR" sz="400" b="0" i="1" dirty="0"/>
          </a:p>
          <a:p>
            <a:r>
              <a:rPr lang="fr-FR" sz="400" dirty="0"/>
              <a:t>L’industrie de joint de </a:t>
            </a:r>
            <a:r>
              <a:rPr lang="fr-FR" sz="400" dirty="0" err="1"/>
              <a:t>éteinchainté</a:t>
            </a:r>
            <a:r>
              <a:rPr lang="fr-FR" sz="400" dirty="0"/>
              <a:t> sont inclus . </a:t>
            </a:r>
          </a:p>
          <a:p>
            <a:r>
              <a:rPr lang="fr-FR" sz="400" dirty="0"/>
              <a:t>Qui consiste Dans ce cadre le PLM, en tant que ensemble de </a:t>
            </a:r>
            <a:r>
              <a:rPr lang="fr-FR" sz="400" dirty="0" err="1"/>
              <a:t>methodes</a:t>
            </a:r>
            <a:r>
              <a:rPr lang="fr-FR" sz="400" dirty="0"/>
              <a:t> qui permet </a:t>
            </a:r>
            <a:r>
              <a:rPr lang="fr-FR" sz="400" dirty="0" err="1"/>
              <a:t>gerer</a:t>
            </a:r>
            <a:r>
              <a:rPr lang="fr-FR" sz="400" dirty="0"/>
              <a:t> la vie d’un produit … Il </a:t>
            </a:r>
            <a:r>
              <a:rPr lang="fr-FR" sz="400" dirty="0" err="1"/>
              <a:t>pr</a:t>
            </a:r>
            <a:endParaRPr lang="fr-FR" sz="400" dirty="0"/>
          </a:p>
          <a:p>
            <a:r>
              <a:rPr lang="fr-FR" sz="400" dirty="0" err="1"/>
              <a:t>esent</a:t>
            </a:r>
            <a:r>
              <a:rPr lang="fr-FR" sz="400" dirty="0"/>
              <a:t> certains challenges</a:t>
            </a:r>
            <a:endParaRPr lang="fr-FR" sz="800"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40131900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300" dirty="0"/>
              <a:t>Ce que nous constatons chez nos clients c’est qu’aucun mise en œuvre n’est identiques; elles dépends des organisations et des attendus qui sont pris en compte</a:t>
            </a:r>
          </a:p>
          <a:p>
            <a:r>
              <a:rPr lang="fr-FR" sz="300" dirty="0"/>
              <a:t> Nos REX montrent que pour mettre en place une démarche DEVOPS pragmatique, il faut mobiliser tous les acteurs de l’organisation et obtenir un alignement des attendus pour obtenir une cible commune : La valeur métier</a:t>
            </a:r>
          </a:p>
          <a:p>
            <a:endParaRPr lang="fr-FR" sz="300" dirty="0"/>
          </a:p>
          <a:p>
            <a:r>
              <a:rPr lang="fr-FR" sz="300" dirty="0"/>
              <a:t>*** TOOL *************************************************</a:t>
            </a:r>
          </a:p>
          <a:p>
            <a:r>
              <a:rPr lang="fr-FR" sz="300" dirty="0"/>
              <a:t>      -</a:t>
            </a:r>
            <a:r>
              <a:rPr lang="en-US" sz="300" dirty="0"/>
              <a:t>Focusing on too many tools : </a:t>
            </a:r>
            <a:r>
              <a:rPr lang="en-US" sz="300" b="0" i="0" kern="1200" dirty="0">
                <a:solidFill>
                  <a:schemeClr val="tx1"/>
                </a:solidFill>
                <a:effectLst/>
                <a:latin typeface="+mn-lt"/>
                <a:ea typeface="+mn-ea"/>
                <a:cs typeface="+mn-cs"/>
              </a:rPr>
              <a:t>Don’t start your DevOps strategy by arguing about and selecting a bunch of different tools. You will soon see it is difficult to find the right tools for team and organizational processes because each team (developers, IT operations, security, etc.) will want to use a specific tool for their DevOps practices, even if it makes it harder to collaborate with other teams. Also, new tools are emerging all the time—there’s even one that will help integrate other tools.</a:t>
            </a:r>
          </a:p>
          <a:p>
            <a:r>
              <a:rPr lang="en-US" sz="300" b="0" i="0" kern="1200" dirty="0">
                <a:solidFill>
                  <a:schemeClr val="tx1"/>
                </a:solidFill>
                <a:effectLst/>
                <a:latin typeface="+mn-lt"/>
                <a:ea typeface="+mn-ea"/>
                <a:cs typeface="+mn-cs"/>
              </a:rPr>
              <a:t>Of course, you need to have the right tools for agile software development, continuous integration, deployment, version control, and so on. Not having the right tools can prevent teams from seeing the maximum benefit from their DevOps efforts. But simply buying a continuous deployment tool or deploying application containers isn’t enough to transition your organization to DevOps.</a:t>
            </a:r>
          </a:p>
          <a:p>
            <a:endParaRPr lang="fr-FR" sz="300" dirty="0"/>
          </a:p>
          <a:p>
            <a:r>
              <a:rPr lang="fr-FR" sz="300" dirty="0" err="1"/>
              <a:t>Benefits</a:t>
            </a:r>
            <a:r>
              <a:rPr lang="fr-FR" sz="300" dirty="0"/>
              <a:t> : </a:t>
            </a:r>
            <a:r>
              <a:rPr lang="fr-FR" sz="900" b="0" i="0" kern="1200" dirty="0">
                <a:solidFill>
                  <a:schemeClr val="tx1"/>
                </a:solidFill>
                <a:effectLst/>
                <a:latin typeface="+mn-lt"/>
                <a:ea typeface="+mn-ea"/>
                <a:cs typeface="+mn-cs"/>
              </a:rPr>
              <a:t> Autrement dit, l’outillage n’est qu’un moyen. Le point de départ de la réflexion, ce doit être la stratégie de l’entreprise et la part du logiciel dans son modèle de création de valeur.</a:t>
            </a:r>
          </a:p>
          <a:p>
            <a:r>
              <a:rPr lang="fr-FR" sz="900" b="0" i="0" kern="1200" dirty="0">
                <a:solidFill>
                  <a:schemeClr val="tx1"/>
                </a:solidFill>
                <a:effectLst/>
                <a:latin typeface="+mn-lt"/>
                <a:ea typeface="+mn-ea"/>
                <a:cs typeface="+mn-cs"/>
              </a:rPr>
              <a:t>Amélioration du rendement informatique :</a:t>
            </a:r>
          </a:p>
          <a:p>
            <a:endParaRPr lang="fr-FR" sz="900" b="0" i="0" kern="1200" dirty="0">
              <a:solidFill>
                <a:schemeClr val="tx1"/>
              </a:solidFill>
              <a:effectLst/>
              <a:latin typeface="+mn-lt"/>
              <a:ea typeface="+mn-ea"/>
              <a:cs typeface="+mn-cs"/>
            </a:endParaRPr>
          </a:p>
          <a:p>
            <a:r>
              <a:rPr lang="fr-FR" sz="900" b="0" i="0" kern="1200" dirty="0">
                <a:solidFill>
                  <a:schemeClr val="tx1"/>
                </a:solidFill>
                <a:effectLst/>
                <a:latin typeface="+mn-lt"/>
                <a:ea typeface="+mn-ea"/>
                <a:cs typeface="+mn-cs"/>
              </a:rPr>
              <a:t>De par son impact sur l'ensemble du cycle de livraison d'un projet , DevOps permet:</a:t>
            </a:r>
          </a:p>
          <a:p>
            <a:endParaRPr lang="fr-FR" sz="900" b="0" i="0" kern="1200" dirty="0">
              <a:solidFill>
                <a:schemeClr val="tx1"/>
              </a:solidFill>
              <a:effectLst/>
              <a:latin typeface="+mn-lt"/>
              <a:ea typeface="+mn-ea"/>
              <a:cs typeface="+mn-cs"/>
            </a:endParaRPr>
          </a:p>
          <a:p>
            <a:r>
              <a:rPr lang="fr-FR" sz="900" b="0" i="0" kern="1200" dirty="0">
                <a:solidFill>
                  <a:schemeClr val="tx1"/>
                </a:solidFill>
                <a:effectLst/>
                <a:latin typeface="+mn-lt"/>
                <a:ea typeface="+mn-ea"/>
                <a:cs typeface="+mn-cs"/>
              </a:rPr>
              <a:t>–un délai de commercialisation plus court.</a:t>
            </a:r>
          </a:p>
          <a:p>
            <a:endParaRPr lang="fr-FR" sz="900" b="0" i="0" kern="1200" dirty="0">
              <a:solidFill>
                <a:schemeClr val="tx1"/>
              </a:solidFill>
              <a:effectLst/>
              <a:latin typeface="+mn-lt"/>
              <a:ea typeface="+mn-ea"/>
              <a:cs typeface="+mn-cs"/>
            </a:endParaRPr>
          </a:p>
          <a:p>
            <a:r>
              <a:rPr lang="fr-FR" sz="900" b="0" i="0" kern="1200" dirty="0">
                <a:solidFill>
                  <a:schemeClr val="tx1"/>
                </a:solidFill>
                <a:effectLst/>
                <a:latin typeface="+mn-lt"/>
                <a:ea typeface="+mn-ea"/>
                <a:cs typeface="+mn-cs"/>
              </a:rPr>
              <a:t>– Un délai de production plus court entre les correctifs.</a:t>
            </a:r>
          </a:p>
          <a:p>
            <a:endParaRPr lang="fr-FR" sz="900" b="0" i="0" kern="1200" dirty="0">
              <a:solidFill>
                <a:schemeClr val="tx1"/>
              </a:solidFill>
              <a:effectLst/>
              <a:latin typeface="+mn-lt"/>
              <a:ea typeface="+mn-ea"/>
              <a:cs typeface="+mn-cs"/>
            </a:endParaRPr>
          </a:p>
          <a:p>
            <a:r>
              <a:rPr lang="fr-FR" sz="900" b="0" i="0" kern="1200" dirty="0">
                <a:solidFill>
                  <a:schemeClr val="tx1"/>
                </a:solidFill>
                <a:effectLst/>
                <a:latin typeface="+mn-lt"/>
                <a:ea typeface="+mn-ea"/>
                <a:cs typeface="+mn-cs"/>
              </a:rPr>
              <a:t>– Un délai de rétablissement plus court ( suite à un plantage d'une version ).</a:t>
            </a:r>
          </a:p>
          <a:p>
            <a:endParaRPr lang="fr-FR" sz="900" b="0" i="0" kern="1200" dirty="0">
              <a:solidFill>
                <a:schemeClr val="tx1"/>
              </a:solidFill>
              <a:effectLst/>
              <a:latin typeface="+mn-lt"/>
              <a:ea typeface="+mn-ea"/>
              <a:cs typeface="+mn-cs"/>
            </a:endParaRPr>
          </a:p>
          <a:p>
            <a:r>
              <a:rPr lang="fr-FR" sz="300" dirty="0"/>
              <a:t>***** GAIN DE TEMPS *********************************************************</a:t>
            </a:r>
          </a:p>
          <a:p>
            <a:endParaRPr lang="fr-FR" sz="300" dirty="0"/>
          </a:p>
          <a:p>
            <a:r>
              <a:rPr lang="fr-FR" sz="300" dirty="0" err="1"/>
              <a:t>Benefits:</a:t>
            </a:r>
            <a:r>
              <a:rPr lang="fr-FR" sz="900" b="0" i="0" kern="1200" dirty="0" err="1">
                <a:solidFill>
                  <a:schemeClr val="tx1"/>
                </a:solidFill>
                <a:effectLst/>
                <a:latin typeface="+mn-lt"/>
                <a:ea typeface="+mn-ea"/>
                <a:cs typeface="+mn-cs"/>
              </a:rPr>
              <a:t>Le</a:t>
            </a:r>
            <a:r>
              <a:rPr lang="fr-FR" sz="900" b="0" i="0" kern="1200" dirty="0">
                <a:solidFill>
                  <a:schemeClr val="tx1"/>
                </a:solidFill>
                <a:effectLst/>
                <a:latin typeface="+mn-lt"/>
                <a:ea typeface="+mn-ea"/>
                <a:cs typeface="+mn-cs"/>
              </a:rPr>
              <a:t> </a:t>
            </a:r>
            <a:r>
              <a:rPr lang="fr-FR" sz="900" b="0" i="0" kern="1200" dirty="0" err="1">
                <a:solidFill>
                  <a:schemeClr val="tx1"/>
                </a:solidFill>
                <a:effectLst/>
                <a:latin typeface="+mn-lt"/>
                <a:ea typeface="+mn-ea"/>
                <a:cs typeface="+mn-cs"/>
              </a:rPr>
              <a:t>devOps</a:t>
            </a:r>
            <a:r>
              <a:rPr lang="fr-FR" sz="900" b="0" i="0" kern="1200" dirty="0">
                <a:solidFill>
                  <a:schemeClr val="tx1"/>
                </a:solidFill>
                <a:effectLst/>
                <a:latin typeface="+mn-lt"/>
                <a:ea typeface="+mn-ea"/>
                <a:cs typeface="+mn-cs"/>
              </a:rPr>
              <a:t> permet de passer moins de temps à s'occuper des imprévus ou à recommencer le travail. les entreprises passent nettement plus de temps à la création de nouvelles tâches d'amélioration comme l'élaboration de nouvelles fonctionnalités.</a:t>
            </a:r>
          </a:p>
          <a:p>
            <a:endParaRPr lang="fr-FR" sz="900" b="0" i="0" kern="1200" dirty="0">
              <a:solidFill>
                <a:schemeClr val="tx1"/>
              </a:solidFill>
              <a:effectLst/>
              <a:latin typeface="+mn-lt"/>
              <a:ea typeface="+mn-ea"/>
              <a:cs typeface="+mn-cs"/>
            </a:endParaRPr>
          </a:p>
          <a:p>
            <a:pPr algn="l"/>
            <a:r>
              <a:rPr lang="fr-FR" sz="800" b="0" i="0" dirty="0">
                <a:solidFill>
                  <a:srgbClr val="303030"/>
                </a:solidFill>
                <a:effectLst/>
                <a:latin typeface="Poppins"/>
              </a:rPr>
              <a:t>Au prétexte d’être agile et de vouloir aller vite, certains sont parfois tentés d’éliminer des tâches jugées secondaires et fastidieuses, comme les tests ou la documentation. Après tout, si cela ne fonctionne pas, il sera toujours possible de corriger plus tard. À confondre ainsi agilité et agitation, vitesse et précipitation, le risque est d’engendrer un monstre de complexité et de faire exploser les coûts d’exploitation. Pour remédier à des problèmes qui auraient pu être anticipés, il faudra en effet mobiliser des experts en phase de run, donc en urgence. Google lui-même a dû mettre le holà en responsabilisant ses développeurs face à l’explosion de micro-services.</a:t>
            </a:r>
          </a:p>
          <a:p>
            <a:pPr algn="l"/>
            <a:r>
              <a:rPr lang="fr-FR" sz="800" b="0" i="0" dirty="0">
                <a:solidFill>
                  <a:srgbClr val="303030"/>
                </a:solidFill>
                <a:effectLst/>
                <a:latin typeface="Poppins"/>
              </a:rPr>
              <a:t>DevOps ne signifie donc pas la fin des tests mais leur décalage « vers la gauche », c’est-à-dire plus en amont afin de fiabiliser au plus tôt ce qui est livré. Au lieu d’être une étape à part, le test doit être une pratique et une préoccupation continue tout au long du cycle de développement.</a:t>
            </a:r>
          </a:p>
          <a:p>
            <a:endParaRPr lang="fr-FR" sz="300" dirty="0"/>
          </a:p>
          <a:p>
            <a:r>
              <a:rPr lang="fr-FR" sz="300" dirty="0"/>
              <a:t>***********************************CULTURE**********************************</a:t>
            </a:r>
          </a:p>
          <a:p>
            <a:endParaRPr lang="fr-FR" sz="300" dirty="0"/>
          </a:p>
          <a:p>
            <a:r>
              <a:rPr lang="fr-FR" sz="300" dirty="0" err="1"/>
              <a:t>Benefit</a:t>
            </a:r>
            <a:r>
              <a:rPr lang="fr-FR" sz="300" dirty="0"/>
              <a:t>: c’est un principe opérationnel qui invite chaque organisation à repenser son cycle de vie applicatif au regard de ses propres objectifs stratégiques.</a:t>
            </a:r>
          </a:p>
          <a:p>
            <a:r>
              <a:rPr lang="fr-FR" sz="300" dirty="0"/>
              <a:t>– Culture : il s'agit de développer la culture de la responsabilité partagée. Ce terme est utilisé pour désigner la collaboration. Toutes les personnes dans l'entreprise doivent être focalisées sur un objectif commun et s'entraider pour l'atteinte de cet objectif.</a:t>
            </a:r>
          </a:p>
          <a:p>
            <a:endParaRPr lang="fr-FR" sz="300" dirty="0"/>
          </a:p>
          <a:p>
            <a:r>
              <a:rPr lang="fr-FR" sz="300" dirty="0"/>
              <a:t>Contre : </a:t>
            </a:r>
            <a:r>
              <a:rPr lang="en-US" sz="900" b="1" i="0" kern="1200" dirty="0">
                <a:solidFill>
                  <a:schemeClr val="tx1"/>
                </a:solidFill>
                <a:effectLst/>
                <a:latin typeface="+mn-lt"/>
                <a:ea typeface="+mn-ea"/>
                <a:cs typeface="+mn-cs"/>
              </a:rPr>
              <a:t>Not preparing for culture change</a:t>
            </a:r>
          </a:p>
          <a:p>
            <a:r>
              <a:rPr lang="en-US" sz="900" b="0" i="0" kern="1200" dirty="0">
                <a:solidFill>
                  <a:schemeClr val="tx1"/>
                </a:solidFill>
                <a:effectLst/>
                <a:latin typeface="+mn-lt"/>
                <a:ea typeface="+mn-ea"/>
                <a:cs typeface="+mn-cs"/>
              </a:rPr>
              <a:t>Once you have the right tools for DevOps practices, you will probably face a new foundational challenge: Trying to make your teams use the tools for faster development, automated testing, continuous delivery, and monitoring. Is your Dev or Ops culture is ready for the changes?</a:t>
            </a:r>
          </a:p>
          <a:p>
            <a:r>
              <a:rPr lang="en-US" sz="900" b="0" i="0" kern="1200" dirty="0">
                <a:solidFill>
                  <a:schemeClr val="tx1"/>
                </a:solidFill>
                <a:effectLst/>
                <a:latin typeface="+mn-lt"/>
                <a:ea typeface="+mn-ea"/>
                <a:cs typeface="+mn-cs"/>
              </a:rPr>
              <a:t>For example, agile methodologies generally mandate that you ship new code once a week, or even once a day. This can result in a lot of awkward, halting, and failed adoptions of agile. You face the same conceptual issues with DevOps. It can be like pulling onto a nice smooth new road with a car that has no gas.</a:t>
            </a:r>
          </a:p>
          <a:p>
            <a:r>
              <a:rPr lang="en-US" sz="900" b="0" i="0" kern="1200" dirty="0">
                <a:solidFill>
                  <a:schemeClr val="tx1"/>
                </a:solidFill>
                <a:effectLst/>
                <a:latin typeface="+mn-lt"/>
                <a:ea typeface="+mn-ea"/>
                <a:cs typeface="+mn-cs"/>
              </a:rPr>
              <a:t>To avoid this, plan for a transition period. Leave enough time for the Dev and Ops teams to get used to your new practices. Make sure they have a chance to get hands-on experience with the new processes and tools. Before adopting DevOps, make sure you’ve matured your Dev and Ops culture.</a:t>
            </a:r>
          </a:p>
          <a:p>
            <a:r>
              <a:rPr lang="en-US" sz="900" b="0" i="0" kern="1200" dirty="0">
                <a:solidFill>
                  <a:schemeClr val="tx1"/>
                </a:solidFill>
                <a:effectLst/>
                <a:latin typeface="+mn-lt"/>
                <a:ea typeface="+mn-ea"/>
                <a:cs typeface="+mn-cs"/>
              </a:rPr>
              <a:t>Changing Your Organization’s Culture</a:t>
            </a:r>
          </a:p>
          <a:p>
            <a:r>
              <a:rPr lang="en-US" sz="900" b="0" i="0" kern="1200" dirty="0">
                <a:solidFill>
                  <a:schemeClr val="tx1"/>
                </a:solidFill>
                <a:effectLst/>
                <a:latin typeface="+mn-lt"/>
                <a:ea typeface="+mn-ea"/>
                <a:cs typeface="+mn-cs"/>
              </a:rPr>
              <a:t>75% of major organizational change initiatives fail, and the leading cause is neglecting the company culture. DevOps is all about faster releases, and the only way for it to work is to encourage communication and collaboration across departments. Developers, software architects, DevOps engineers, SRE engineers, product managers, marketing teams, and customer success all need to be willing to come together to abandon the status quo.</a:t>
            </a:r>
          </a:p>
          <a:p>
            <a:r>
              <a:rPr lang="en-US" sz="900" b="0" i="0" kern="1200" dirty="0">
                <a:solidFill>
                  <a:schemeClr val="tx1"/>
                </a:solidFill>
                <a:effectLst/>
                <a:latin typeface="+mn-lt"/>
                <a:ea typeface="+mn-ea"/>
                <a:cs typeface="+mn-cs"/>
              </a:rPr>
              <a:t>“…the biggest opportunities for improvement in most large organizations [is] not in how the individual teams work but more in how all the different teams come together to deliver value to the customer. This is where I believe the DevOps principle…really helps.” – Gary Gruver, author of Starting and Scaling DevOps in the Enterprise</a:t>
            </a:r>
          </a:p>
          <a:p>
            <a:endParaRPr lang="en-US" sz="900" b="0" i="0" kern="1200" dirty="0">
              <a:solidFill>
                <a:schemeClr val="tx1"/>
              </a:solidFill>
              <a:effectLst/>
              <a:latin typeface="+mn-lt"/>
              <a:ea typeface="+mn-ea"/>
              <a:cs typeface="+mn-cs"/>
            </a:endParaRPr>
          </a:p>
          <a:p>
            <a:endParaRPr lang="en-US" sz="900" b="0" i="0" kern="1200" dirty="0">
              <a:solidFill>
                <a:schemeClr val="tx1"/>
              </a:solidFill>
              <a:effectLst/>
              <a:latin typeface="+mn-lt"/>
              <a:ea typeface="+mn-ea"/>
              <a:cs typeface="+mn-cs"/>
            </a:endParaRPr>
          </a:p>
          <a:p>
            <a:endParaRPr lang="fr-FR" sz="300" dirty="0"/>
          </a:p>
          <a:p>
            <a:r>
              <a:rPr lang="fr-FR" sz="300" dirty="0"/>
              <a:t>******************************EQUIPE****************************************</a:t>
            </a:r>
          </a:p>
          <a:p>
            <a:r>
              <a:rPr lang="fr-FR" sz="900" b="0" i="0" kern="1200" dirty="0">
                <a:solidFill>
                  <a:schemeClr val="tx1"/>
                </a:solidFill>
                <a:effectLst/>
                <a:latin typeface="+mn-lt"/>
                <a:ea typeface="+mn-ea"/>
                <a:cs typeface="+mn-cs"/>
              </a:rPr>
              <a:t> </a:t>
            </a:r>
            <a:r>
              <a:rPr lang="fr-FR" sz="900" b="0" i="0" kern="1200" dirty="0" err="1">
                <a:solidFill>
                  <a:schemeClr val="tx1"/>
                </a:solidFill>
                <a:effectLst/>
                <a:latin typeface="+mn-lt"/>
                <a:ea typeface="+mn-ea"/>
                <a:cs typeface="+mn-cs"/>
              </a:rPr>
              <a:t>Benefit</a:t>
            </a:r>
            <a:r>
              <a:rPr lang="fr-FR" sz="900" b="0" i="0" kern="1200" dirty="0">
                <a:solidFill>
                  <a:schemeClr val="tx1"/>
                </a:solidFill>
                <a:effectLst/>
                <a:latin typeface="+mn-lt"/>
                <a:ea typeface="+mn-ea"/>
                <a:cs typeface="+mn-cs"/>
              </a:rPr>
              <a:t> :Par le développement de la communication l'approche Devops permet d'augmenter l'empathie entre les membres d'une organisation. De plus d'après un rapport intitulé « </a:t>
            </a:r>
            <a:r>
              <a:rPr lang="fr-FR" sz="900" b="0" i="0" kern="1200" dirty="0" err="1">
                <a:solidFill>
                  <a:schemeClr val="tx1"/>
                </a:solidFill>
                <a:effectLst/>
                <a:latin typeface="+mn-lt"/>
                <a:ea typeface="+mn-ea"/>
                <a:cs typeface="+mn-cs"/>
              </a:rPr>
              <a:t>Puppet's</a:t>
            </a:r>
            <a:r>
              <a:rPr lang="fr-FR" sz="900" b="0" i="0" kern="1200" dirty="0">
                <a:solidFill>
                  <a:schemeClr val="tx1"/>
                </a:solidFill>
                <a:effectLst/>
                <a:latin typeface="+mn-lt"/>
                <a:ea typeface="+mn-ea"/>
                <a:cs typeface="+mn-cs"/>
              </a:rPr>
              <a:t> State of DevOps » qui compare le rendement d'entreprise implémentant le DevOps et celles ne le faisant pas , les employés d'entreprises avec du DevOps ont plus tendance à qualifier leurs entreprises comme étant un bon employeur.</a:t>
            </a:r>
          </a:p>
          <a:p>
            <a:endParaRPr lang="fr-FR" sz="900" b="0" i="0" kern="1200" dirty="0">
              <a:solidFill>
                <a:schemeClr val="tx1"/>
              </a:solidFill>
              <a:effectLst/>
              <a:latin typeface="+mn-lt"/>
              <a:ea typeface="+mn-ea"/>
              <a:cs typeface="+mn-cs"/>
            </a:endParaRPr>
          </a:p>
          <a:p>
            <a:r>
              <a:rPr lang="fr-FR" sz="900" b="0" i="0" kern="1200" dirty="0">
                <a:solidFill>
                  <a:schemeClr val="tx1"/>
                </a:solidFill>
                <a:effectLst/>
                <a:latin typeface="+mn-lt"/>
                <a:ea typeface="+mn-ea"/>
                <a:cs typeface="+mn-cs"/>
              </a:rPr>
              <a:t>Contre: </a:t>
            </a:r>
            <a:r>
              <a:rPr lang="en-US" sz="900" b="0" i="0" kern="1200" dirty="0">
                <a:solidFill>
                  <a:schemeClr val="tx1"/>
                </a:solidFill>
                <a:effectLst/>
                <a:latin typeface="+mn-lt"/>
                <a:ea typeface="+mn-ea"/>
                <a:cs typeface="+mn-cs"/>
              </a:rPr>
              <a:t>. Getting Everyone On Board</a:t>
            </a:r>
          </a:p>
          <a:p>
            <a:r>
              <a:rPr lang="en-US" sz="900" b="0" i="0" kern="1200" dirty="0">
                <a:solidFill>
                  <a:schemeClr val="tx1"/>
                </a:solidFill>
                <a:effectLst/>
                <a:latin typeface="+mn-lt"/>
                <a:ea typeface="+mn-ea"/>
                <a:cs typeface="+mn-cs"/>
              </a:rPr>
              <a:t>DevOps can be a big change, and for it to succeed everyone needs to be on board. This includes executives, IT and business managers, and everyone involved in development and operations to identify and use the right tools. The good news is, getting executive buy-in for DevOps is expected to become significantly easier throughout 2019.</a:t>
            </a:r>
          </a:p>
          <a:p>
            <a:r>
              <a:rPr lang="en-US" sz="900" b="0" i="0" kern="1200" dirty="0">
                <a:solidFill>
                  <a:schemeClr val="tx1"/>
                </a:solidFill>
                <a:effectLst/>
                <a:latin typeface="+mn-lt"/>
                <a:ea typeface="+mn-ea"/>
                <a:cs typeface="+mn-cs"/>
              </a:rPr>
              <a:t>When there is no top level support, DevOps becomes much more challenging and often becomes a new silo. </a:t>
            </a:r>
          </a:p>
          <a:p>
            <a:r>
              <a:rPr lang="en-US" sz="900" b="0" i="0" kern="1200" dirty="0">
                <a:solidFill>
                  <a:schemeClr val="tx1"/>
                </a:solidFill>
                <a:effectLst/>
                <a:latin typeface="+mn-lt"/>
                <a:ea typeface="+mn-ea"/>
                <a:cs typeface="+mn-cs"/>
              </a:rPr>
              <a:t>*************************************ENVIRONNEMENT*********************</a:t>
            </a:r>
          </a:p>
          <a:p>
            <a:r>
              <a:rPr lang="fr-FR" sz="900" b="0" i="0" kern="1200" dirty="0" err="1">
                <a:solidFill>
                  <a:schemeClr val="tx1"/>
                </a:solidFill>
                <a:effectLst/>
                <a:latin typeface="+mn-lt"/>
                <a:ea typeface="+mn-ea"/>
                <a:cs typeface="+mn-cs"/>
              </a:rPr>
              <a:t>Benefits</a:t>
            </a:r>
            <a:r>
              <a:rPr lang="fr-FR" sz="900" b="0" i="0" kern="1200" dirty="0">
                <a:solidFill>
                  <a:schemeClr val="tx1"/>
                </a:solidFill>
                <a:effectLst/>
                <a:latin typeface="+mn-lt"/>
                <a:ea typeface="+mn-ea"/>
                <a:cs typeface="+mn-cs"/>
              </a:rPr>
              <a:t> :s</a:t>
            </a:r>
            <a:r>
              <a:rPr lang="en-US" sz="900" b="1" i="0" kern="1200" dirty="0">
                <a:solidFill>
                  <a:schemeClr val="tx1"/>
                </a:solidFill>
                <a:effectLst/>
                <a:latin typeface="+mn-lt"/>
                <a:ea typeface="+mn-ea"/>
                <a:cs typeface="+mn-cs"/>
              </a:rPr>
              <a:t>table Operating Environment</a:t>
            </a:r>
          </a:p>
          <a:p>
            <a:r>
              <a:rPr lang="en-US" sz="900" b="0" i="0" kern="1200" dirty="0">
                <a:solidFill>
                  <a:schemeClr val="tx1"/>
                </a:solidFill>
                <a:effectLst/>
                <a:latin typeface="+mn-lt"/>
                <a:ea typeface="+mn-ea"/>
                <a:cs typeface="+mn-cs"/>
              </a:rPr>
              <a:t>To maintain a stable environment, Infrastructure as a code (</a:t>
            </a:r>
            <a:r>
              <a:rPr lang="en-US" sz="900" b="0" i="0" kern="1200" dirty="0" err="1">
                <a:solidFill>
                  <a:schemeClr val="tx1"/>
                </a:solidFill>
                <a:effectLst/>
                <a:latin typeface="+mn-lt"/>
                <a:ea typeface="+mn-ea"/>
                <a:cs typeface="+mn-cs"/>
              </a:rPr>
              <a:t>IaC</a:t>
            </a:r>
            <a:r>
              <a:rPr lang="en-US" sz="900" b="0" i="0" kern="1200" dirty="0">
                <a:solidFill>
                  <a:schemeClr val="tx1"/>
                </a:solidFill>
                <a:effectLst/>
                <a:latin typeface="+mn-lt"/>
                <a:ea typeface="+mn-ea"/>
                <a:cs typeface="+mn-cs"/>
              </a:rPr>
              <a:t>) can be used. Server configuration is stored in the source code repository with the application source. Automation tools will take the configuration and apply each task to the desired system. These tools automate any task virtually and are easy to learn.</a:t>
            </a:r>
          </a:p>
          <a:p>
            <a:endParaRPr lang="fr-FR" sz="900" b="0" i="0" kern="1200" dirty="0">
              <a:solidFill>
                <a:schemeClr val="tx1"/>
              </a:solidFill>
              <a:effectLst/>
              <a:latin typeface="+mn-lt"/>
              <a:ea typeface="+mn-ea"/>
              <a:cs typeface="+mn-cs"/>
            </a:endParaRPr>
          </a:p>
          <a:p>
            <a:r>
              <a:rPr lang="fr-FR" sz="900" b="0" i="0" kern="1200" dirty="0">
                <a:solidFill>
                  <a:schemeClr val="tx1"/>
                </a:solidFill>
                <a:effectLst/>
                <a:latin typeface="+mn-lt"/>
                <a:ea typeface="+mn-ea"/>
                <a:cs typeface="+mn-cs"/>
              </a:rPr>
              <a:t>Contre:</a:t>
            </a:r>
            <a:r>
              <a:rPr lang="en-US" sz="900" b="0" i="0" kern="1200" dirty="0">
                <a:solidFill>
                  <a:schemeClr val="tx1"/>
                </a:solidFill>
                <a:effectLst/>
                <a:latin typeface="+mn-lt"/>
                <a:ea typeface="+mn-ea"/>
                <a:cs typeface="+mn-cs"/>
              </a:rPr>
              <a:t>Inconsistent Environments</a:t>
            </a:r>
          </a:p>
          <a:p>
            <a:r>
              <a:rPr lang="en-US" sz="900" b="0" i="0" kern="1200" dirty="0">
                <a:solidFill>
                  <a:schemeClr val="tx1"/>
                </a:solidFill>
                <a:effectLst/>
                <a:latin typeface="+mn-lt"/>
                <a:ea typeface="+mn-ea"/>
                <a:cs typeface="+mn-cs"/>
              </a:rPr>
              <a:t>In almost every company I have worked for or consulted with, a huge amount of waste exists because the various environments (dev, test, stage, prod) are configured differently. I call this “environment hell”. How many times have you heard a developer say “it worked on my laptop”? As code moves from one environment to the next, software breaks because of the different configurations within each environment. I have seen teams waste days and even weeks fixing bugs that are due to environmental issues and are not due to errors within the code. Inconsistent environments are the number one killer of agility.</a:t>
            </a:r>
          </a:p>
          <a:p>
            <a:endParaRPr lang="en-US" sz="900" b="0" i="0" kern="1200" dirty="0">
              <a:solidFill>
                <a:schemeClr val="tx1"/>
              </a:solidFill>
              <a:effectLst/>
              <a:latin typeface="+mn-lt"/>
              <a:ea typeface="+mn-ea"/>
              <a:cs typeface="+mn-cs"/>
            </a:endParaRPr>
          </a:p>
          <a:p>
            <a:endParaRPr lang="en-US" sz="900" b="0" i="0" kern="1200" dirty="0">
              <a:solidFill>
                <a:schemeClr val="tx1"/>
              </a:solidFill>
              <a:effectLst/>
              <a:latin typeface="+mn-lt"/>
              <a:ea typeface="+mn-ea"/>
              <a:cs typeface="+mn-cs"/>
            </a:endParaRPr>
          </a:p>
          <a:p>
            <a:endParaRPr lang="en-US" sz="900" b="0" i="0" kern="1200" dirty="0">
              <a:solidFill>
                <a:schemeClr val="tx1"/>
              </a:solidFill>
              <a:effectLst/>
              <a:latin typeface="+mn-lt"/>
              <a:ea typeface="+mn-ea"/>
              <a:cs typeface="+mn-cs"/>
            </a:endParaRPr>
          </a:p>
          <a:p>
            <a:r>
              <a:rPr lang="en-US" sz="900" b="0" i="0" kern="1200" dirty="0">
                <a:solidFill>
                  <a:schemeClr val="tx1"/>
                </a:solidFill>
                <a:effectLst/>
                <a:latin typeface="+mn-lt"/>
                <a:ea typeface="+mn-ea"/>
                <a:cs typeface="+mn-cs"/>
              </a:rPr>
              <a:t>***************************COUTS***********************</a:t>
            </a:r>
          </a:p>
          <a:p>
            <a:endParaRPr lang="en-US" sz="900" b="0" i="0" kern="1200" dirty="0">
              <a:solidFill>
                <a:schemeClr val="tx1"/>
              </a:solidFill>
              <a:effectLst/>
              <a:latin typeface="+mn-lt"/>
              <a:ea typeface="+mn-ea"/>
              <a:cs typeface="+mn-cs"/>
            </a:endParaRPr>
          </a:p>
          <a:p>
            <a:r>
              <a:rPr lang="fr-FR" sz="900" b="0" i="0" kern="1200" dirty="0">
                <a:solidFill>
                  <a:schemeClr val="tx1"/>
                </a:solidFill>
                <a:effectLst/>
                <a:latin typeface="+mn-lt"/>
                <a:ea typeface="+mn-ea"/>
                <a:cs typeface="+mn-cs"/>
              </a:rPr>
              <a:t>Grâce à DevOps, la DSI va réduire ses coûts !</a:t>
            </a:r>
          </a:p>
          <a:p>
            <a:r>
              <a:rPr lang="fr-FR" sz="900" b="0" i="0" kern="1200" dirty="0">
                <a:solidFill>
                  <a:schemeClr val="tx1"/>
                </a:solidFill>
                <a:effectLst/>
                <a:latin typeface="+mn-lt"/>
                <a:ea typeface="+mn-ea"/>
                <a:cs typeface="+mn-cs"/>
              </a:rPr>
              <a:t>Les habitudes ayant la vie dure, DevOps est souvent perçu comme une nouvelle étape dans la perpétuelle quête de réduction des coûts engagée par l’IT depuis plus de vingt ans. Par réflexe, la DSI va donc bien souvent structurer sa transformation autour des seuls gains opérationnels. C’est une erreur fondamentale.</a:t>
            </a:r>
          </a:p>
          <a:p>
            <a:endParaRPr lang="fr-FR" sz="900" b="0" i="0" kern="1200" dirty="0">
              <a:solidFill>
                <a:schemeClr val="tx1"/>
              </a:solidFill>
              <a:effectLst/>
              <a:latin typeface="+mn-lt"/>
              <a:ea typeface="+mn-ea"/>
              <a:cs typeface="+mn-cs"/>
            </a:endParaRPr>
          </a:p>
          <a:p>
            <a:r>
              <a:rPr lang="fr-FR" sz="900" b="0" i="0" kern="1200" dirty="0">
                <a:solidFill>
                  <a:schemeClr val="tx1"/>
                </a:solidFill>
                <a:effectLst/>
                <a:latin typeface="+mn-lt"/>
                <a:ea typeface="+mn-ea"/>
                <a:cs typeface="+mn-cs"/>
              </a:rPr>
              <a:t>En effet, DevOps a été conçu pour servir directement la stratégie de l’entreprise et c’est donc au regard de sa contribution au business que doivent être mesurés ses bénéfices. Bien entendu, la DSI doit maîtriser ses coûts, tenir ses budgets et rationaliser ses ressources, mais, désormais, ces dépenses peuvent être confrontées à une valeur créée. Expliciter et mesurer cette dernière est l’une des clés du succès de DevOps.</a:t>
            </a:r>
          </a:p>
          <a:p>
            <a:endParaRPr lang="fr-FR" sz="900" b="0" i="0" kern="1200" dirty="0">
              <a:solidFill>
                <a:schemeClr val="tx1"/>
              </a:solidFill>
              <a:effectLst/>
              <a:latin typeface="+mn-lt"/>
              <a:ea typeface="+mn-ea"/>
              <a:cs typeface="+mn-cs"/>
            </a:endParaRPr>
          </a:p>
          <a:p>
            <a:endParaRPr lang="fr-FR" sz="900" b="0" i="0" kern="1200" dirty="0">
              <a:solidFill>
                <a:schemeClr val="tx1"/>
              </a:solidFill>
              <a:effectLst/>
              <a:latin typeface="+mn-lt"/>
              <a:ea typeface="+mn-ea"/>
              <a:cs typeface="+mn-cs"/>
            </a:endParaRPr>
          </a:p>
          <a:p>
            <a:r>
              <a:rPr lang="en-US" sz="900" b="0" i="0" kern="1200" dirty="0">
                <a:solidFill>
                  <a:schemeClr val="tx1"/>
                </a:solidFill>
                <a:effectLst/>
                <a:latin typeface="+mn-lt"/>
                <a:ea typeface="+mn-ea"/>
                <a:cs typeface="+mn-cs"/>
              </a:rPr>
              <a:t>Facing the Cost of DevOps</a:t>
            </a:r>
          </a:p>
          <a:p>
            <a:r>
              <a:rPr lang="en-US" sz="900" b="0" i="0" kern="1200" dirty="0">
                <a:solidFill>
                  <a:schemeClr val="tx1"/>
                </a:solidFill>
                <a:effectLst/>
                <a:latin typeface="+mn-lt"/>
                <a:ea typeface="+mn-ea"/>
                <a:cs typeface="+mn-cs"/>
              </a:rPr>
              <a:t>DevOps doesn’t reduce costs so much as it grows revenue. Faster release cycles mean greater value added to your product, resulting in average revenue gains of 19%. But the initial cost of introducing new technologies, training employees, and migrating old systems can be substantial at first, and it’s easy to get discouraged when the benefits aren’t realized immediately.</a:t>
            </a:r>
          </a:p>
          <a:p>
            <a:endParaRPr lang="en-US" sz="900" b="0" i="0" kern="1200" dirty="0">
              <a:solidFill>
                <a:schemeClr val="tx1"/>
              </a:solidFill>
              <a:effectLst/>
              <a:latin typeface="+mn-lt"/>
              <a:ea typeface="+mn-ea"/>
              <a:cs typeface="+mn-cs"/>
            </a:endParaRPr>
          </a:p>
          <a:p>
            <a:r>
              <a:rPr lang="en-US" sz="900" b="0" i="0" kern="1200" dirty="0">
                <a:solidFill>
                  <a:schemeClr val="tx1"/>
                </a:solidFill>
                <a:effectLst/>
                <a:latin typeface="+mn-lt"/>
                <a:ea typeface="+mn-ea"/>
                <a:cs typeface="+mn-cs"/>
              </a:rPr>
              <a:t>“If you can keep delivering features and they bring in revenue…and you’re doing it off the same – or slightly increased – cost base, that’s a huge conversation, and it’s one I don’t think is leveraged quite enough or really effectively.” – Nicole </a:t>
            </a:r>
            <a:r>
              <a:rPr lang="en-US" sz="900" b="0" i="0" kern="1200" dirty="0" err="1">
                <a:solidFill>
                  <a:schemeClr val="tx1"/>
                </a:solidFill>
                <a:effectLst/>
                <a:latin typeface="+mn-lt"/>
                <a:ea typeface="+mn-ea"/>
                <a:cs typeface="+mn-cs"/>
              </a:rPr>
              <a:t>Forsgren</a:t>
            </a:r>
            <a:r>
              <a:rPr lang="en-US" sz="900" b="0" i="0" kern="1200" dirty="0">
                <a:solidFill>
                  <a:schemeClr val="tx1"/>
                </a:solidFill>
                <a:effectLst/>
                <a:latin typeface="+mn-lt"/>
                <a:ea typeface="+mn-ea"/>
                <a:cs typeface="+mn-cs"/>
              </a:rPr>
              <a:t>, CEO of DevOps Research and Assessment (Dora)</a:t>
            </a:r>
            <a:endParaRPr lang="fr-FR" sz="900" b="0" i="0" kern="1200" dirty="0">
              <a:solidFill>
                <a:schemeClr val="tx1"/>
              </a:solidFill>
              <a:effectLst/>
              <a:latin typeface="+mn-lt"/>
              <a:ea typeface="+mn-ea"/>
              <a:cs typeface="+mn-cs"/>
            </a:endParaRPr>
          </a:p>
          <a:p>
            <a:r>
              <a:rPr lang="fr-FR" sz="900" b="0" i="0" kern="1200" dirty="0">
                <a:solidFill>
                  <a:schemeClr val="tx1"/>
                </a:solidFill>
                <a:effectLst/>
                <a:latin typeface="+mn-lt"/>
                <a:ea typeface="+mn-ea"/>
                <a:cs typeface="+mn-cs"/>
              </a:rPr>
              <a:t>Les chiffres sont clairs. D’après l’étude </a:t>
            </a:r>
            <a:r>
              <a:rPr lang="fr-FR" sz="900" b="0" i="1" kern="1200" dirty="0">
                <a:solidFill>
                  <a:schemeClr val="tx1"/>
                </a:solidFill>
                <a:effectLst/>
                <a:latin typeface="+mn-lt"/>
                <a:ea typeface="+mn-ea"/>
                <a:cs typeface="+mn-cs"/>
              </a:rPr>
              <a:t>State of DevOps Report</a:t>
            </a:r>
            <a:r>
              <a:rPr lang="fr-FR" sz="900" b="0" i="0" kern="1200" dirty="0">
                <a:solidFill>
                  <a:schemeClr val="tx1"/>
                </a:solidFill>
                <a:effectLst/>
                <a:latin typeface="+mn-lt"/>
                <a:ea typeface="+mn-ea"/>
                <a:cs typeface="+mn-cs"/>
              </a:rPr>
              <a:t>, </a:t>
            </a:r>
            <a:r>
              <a:rPr lang="fr-FR" sz="900" b="1" i="0" kern="1200" dirty="0">
                <a:solidFill>
                  <a:schemeClr val="tx1"/>
                </a:solidFill>
                <a:effectLst/>
                <a:latin typeface="+mn-lt"/>
                <a:ea typeface="+mn-ea"/>
                <a:cs typeface="+mn-cs"/>
              </a:rPr>
              <a:t>les entreprises appliquant le concept DevOps réalisent 200 fois plus facilement leurs projets, font 3 fois moins d’erreurs et les corrigent 24 fois plus rapidement.</a:t>
            </a:r>
            <a:endParaRPr lang="fr-FR" sz="900" b="0" i="0" kern="1200" dirty="0">
              <a:solidFill>
                <a:schemeClr val="tx1"/>
              </a:solidFill>
              <a:effectLst/>
              <a:latin typeface="+mn-lt"/>
              <a:ea typeface="+mn-ea"/>
              <a:cs typeface="+mn-cs"/>
            </a:endParaRPr>
          </a:p>
          <a:p>
            <a:endParaRPr lang="fr-FR" sz="900" b="0" i="0" kern="1200" dirty="0">
              <a:solidFill>
                <a:schemeClr val="tx1"/>
              </a:solidFill>
              <a:effectLst/>
              <a:latin typeface="+mn-lt"/>
              <a:ea typeface="+mn-ea"/>
              <a:cs typeface="+mn-cs"/>
            </a:endParaRPr>
          </a:p>
          <a:p>
            <a:r>
              <a:rPr lang="fr-FR" sz="900" b="0" i="0" kern="1200" dirty="0">
                <a:solidFill>
                  <a:schemeClr val="tx1"/>
                </a:solidFill>
                <a:effectLst/>
                <a:latin typeface="+mn-lt"/>
                <a:ea typeface="+mn-ea"/>
                <a:cs typeface="+mn-cs"/>
              </a:rPr>
              <a:t>***********************</a:t>
            </a:r>
          </a:p>
          <a:p>
            <a:endParaRPr lang="fr-FR" sz="300"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sz="300" dirty="0">
                <a:latin typeface="+mn-lt"/>
              </a:rPr>
              <a:t>DevOps n’est ni une norme, ni un outil, c’est avant tout une évolution culturelle, une transformation de la DSI qui nécessite de la méthodologie. </a:t>
            </a:r>
          </a:p>
          <a:p>
            <a:endParaRPr lang="fr-FR" sz="300" dirty="0"/>
          </a:p>
          <a:p>
            <a:pPr marL="285750" indent="-285750">
              <a:buFont typeface="Arial" panose="020B0604020202020204" pitchFamily="34" charset="0"/>
              <a:buChar char="•"/>
            </a:pPr>
            <a:r>
              <a:rPr lang="fr-FR" sz="300" dirty="0"/>
              <a:t>Le taux d’échec suite à une implémentation diminue de 55%</a:t>
            </a:r>
          </a:p>
          <a:p>
            <a:pPr marL="285750" indent="-285750">
              <a:buFont typeface="Arial" panose="020B0604020202020204" pitchFamily="34" charset="0"/>
              <a:buChar char="•"/>
            </a:pPr>
            <a:r>
              <a:rPr lang="fr-FR" sz="300" dirty="0"/>
              <a:t>Le code généré est de meilleure qualité dans 38% des cas</a:t>
            </a:r>
          </a:p>
          <a:p>
            <a:pPr marL="285750" indent="-285750">
              <a:buFont typeface="Arial" panose="020B0604020202020204" pitchFamily="34" charset="0"/>
              <a:buChar char="•"/>
            </a:pPr>
            <a:r>
              <a:rPr lang="fr-FR" sz="300" dirty="0"/>
              <a:t>La coopération et la collaboration entre les équipe sont jugées exceptionnelles à 55%</a:t>
            </a:r>
          </a:p>
          <a:p>
            <a:endParaRPr lang="fr-FR" sz="300" dirty="0"/>
          </a:p>
          <a:p>
            <a:r>
              <a:rPr lang="en-US" sz="300" b="0" i="1" kern="1200" dirty="0">
                <a:solidFill>
                  <a:schemeClr val="tx1"/>
                </a:solidFill>
                <a:effectLst/>
                <a:latin typeface="+mn-lt"/>
                <a:ea typeface="+mn-ea"/>
                <a:cs typeface="+mn-cs"/>
              </a:rPr>
              <a:t>“DevOps represents a change in IT culture, focusing on rapid IT service delivery through the adoption of agile, lean practices in the context of a system-oriented approach. DevOps emphasizes people (and culture), and seeks to improve collaboration between operations and development teams. DevOps implementations utilize technology— especially automation tools that can leverage an increasingly programmable and dynamic infrastructure from a life cycle perspectiv</a:t>
            </a:r>
            <a:r>
              <a:rPr lang="en-US" sz="900" b="0" i="1" kern="1200" dirty="0">
                <a:solidFill>
                  <a:schemeClr val="tx1"/>
                </a:solidFill>
                <a:effectLst/>
                <a:latin typeface="+mn-lt"/>
                <a:ea typeface="+mn-ea"/>
                <a:cs typeface="+mn-cs"/>
              </a:rPr>
              <a:t>e.”</a:t>
            </a:r>
          </a:p>
          <a:p>
            <a:endParaRPr lang="en-US" sz="900" b="0" i="1" kern="1200" dirty="0">
              <a:solidFill>
                <a:schemeClr val="tx1"/>
              </a:solidFill>
              <a:effectLst/>
              <a:latin typeface="+mn-lt"/>
              <a:ea typeface="+mn-ea"/>
              <a:cs typeface="+mn-cs"/>
            </a:endParaRPr>
          </a:p>
          <a:p>
            <a:pPr rtl="0"/>
            <a:r>
              <a:rPr lang="fr-FR" sz="900" b="0" i="0" u="none" strike="noStrike" kern="1200" dirty="0">
                <a:solidFill>
                  <a:schemeClr val="tx1"/>
                </a:solidFill>
                <a:effectLst/>
                <a:latin typeface="+mn-lt"/>
                <a:ea typeface="+mn-ea"/>
                <a:cs typeface="+mn-cs"/>
              </a:rPr>
              <a:t>Définition du modèle DevOps</a:t>
            </a:r>
            <a:endParaRPr lang="fr-FR" sz="900" b="0" i="0" kern="1200" dirty="0">
              <a:solidFill>
                <a:schemeClr val="tx1"/>
              </a:solidFill>
              <a:effectLst/>
              <a:latin typeface="+mn-lt"/>
              <a:ea typeface="+mn-ea"/>
              <a:cs typeface="+mn-cs"/>
            </a:endParaRPr>
          </a:p>
          <a:p>
            <a:pPr rtl="0"/>
            <a:r>
              <a:rPr lang="fr-FR" sz="900" b="0" i="0" kern="1200" dirty="0">
                <a:solidFill>
                  <a:schemeClr val="tx1"/>
                </a:solidFill>
                <a:effectLst/>
                <a:latin typeface="+mn-lt"/>
                <a:ea typeface="+mn-ea"/>
                <a:cs typeface="+mn-cs"/>
              </a:rPr>
              <a:t>DevOps est une combinaison de philosophies culturelles, de pratiques et d'outils qui améliore la capacité d'une entreprise à livrer des applications et des services à un rythme élevé. Il permet de faire évoluer et d’optimiser les produits plus rapidement que les entreprises utilisant des processus traditionnels de développement de logiciels et de gestion de l’infrastructure. Cette vitesse permet aux entreprises de mieux servir leurs clients et de gagner en compétitivité.</a:t>
            </a:r>
          </a:p>
          <a:p>
            <a:endParaRPr lang="fr-FR"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3218888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0415980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400" dirty="0"/>
              <a:t>Dans le </a:t>
            </a:r>
            <a:r>
              <a:rPr lang="fr-FR" sz="300" dirty="0"/>
              <a:t>contexte de l’industrie ,il y a des </a:t>
            </a:r>
            <a:r>
              <a:rPr lang="fr-FR" sz="300" dirty="0" err="1"/>
              <a:t>epoques</a:t>
            </a:r>
            <a:r>
              <a:rPr lang="fr-FR" sz="300" dirty="0"/>
              <a:t> qui </a:t>
            </a:r>
            <a:r>
              <a:rPr lang="fr-FR" sz="300" dirty="0" err="1"/>
              <a:t>represent</a:t>
            </a:r>
            <a:r>
              <a:rPr lang="fr-FR" sz="300" dirty="0"/>
              <a:t> vraiment un changement de paradigme/point d’inflexion au niveau </a:t>
            </a:r>
            <a:r>
              <a:rPr lang="fr-FR" sz="400" dirty="0"/>
              <a:t>de la conception de produit , le marché.</a:t>
            </a:r>
          </a:p>
          <a:p>
            <a:r>
              <a:rPr lang="fr-FR" sz="400" dirty="0" err="1"/>
              <a:t>Actuallement</a:t>
            </a:r>
            <a:r>
              <a:rPr lang="fr-FR" sz="400" dirty="0"/>
              <a:t> , on est </a:t>
            </a:r>
            <a:r>
              <a:rPr lang="fr-FR" sz="400" dirty="0" err="1"/>
              <a:t>temoin</a:t>
            </a:r>
            <a:r>
              <a:rPr lang="fr-FR" sz="400" dirty="0"/>
              <a:t> de la </a:t>
            </a:r>
            <a:r>
              <a:rPr lang="fr-FR" sz="400" dirty="0" err="1"/>
              <a:t>rev</a:t>
            </a:r>
            <a:r>
              <a:rPr lang="fr-FR" sz="400" dirty="0"/>
              <a:t> de nouvelles </a:t>
            </a:r>
            <a:r>
              <a:rPr lang="fr-FR" sz="400" dirty="0" err="1"/>
              <a:t>techn</a:t>
            </a:r>
            <a:r>
              <a:rPr lang="fr-FR" sz="400" dirty="0"/>
              <a:t>. </a:t>
            </a:r>
          </a:p>
          <a:p>
            <a:r>
              <a:rPr lang="fr-FR" sz="400" b="0" i="1" dirty="0">
                <a:solidFill>
                  <a:srgbClr val="333333"/>
                </a:solidFill>
                <a:effectLst/>
                <a:latin typeface="Arial" panose="020B0604020202020204" pitchFamily="34" charset="0"/>
              </a:rPr>
              <a:t>Aujourd’hui, il n’est plus question qu’un moyen de production produise à la chaîne (ou plutôt reproduise) un produit des milliers de fois. Nous sommes entrés dans l’ère de la personnalisation des produits. Le consommateur veut un produit complètement personnalisé, qui ne ressemble pas à celui de son voisin. L’industrie 4.0 s’engage à répondre à cette exigence de produits uniques et personnalisés tout en conservant des coûts équivalents, et cela malgré les faibles volumes de production engendrés. C’est pourquoi l’un des défis de cette 4ème révolution industrielle est de réussir à connecter le besoin du client à l’organe de production. Cette connexion ne peut se faire sans l’apport des nouvelles technologies, qui devront être exploitées dans cette “nouvelle usine”</a:t>
            </a:r>
            <a:endParaRPr lang="fr-FR" sz="400" b="0" i="1" dirty="0"/>
          </a:p>
          <a:p>
            <a:r>
              <a:rPr lang="fr-FR" sz="400" dirty="0"/>
              <a:t>L’industrie de joint de </a:t>
            </a:r>
            <a:r>
              <a:rPr lang="fr-FR" sz="400" dirty="0" err="1"/>
              <a:t>éteinchainté</a:t>
            </a:r>
            <a:r>
              <a:rPr lang="fr-FR" sz="400" dirty="0"/>
              <a:t> sont inclus . </a:t>
            </a:r>
          </a:p>
          <a:p>
            <a:r>
              <a:rPr lang="fr-FR" sz="400" dirty="0"/>
              <a:t>Qui consiste Dans ce cadre le PLM, en tant que ensemble de </a:t>
            </a:r>
            <a:r>
              <a:rPr lang="fr-FR" sz="400" dirty="0" err="1"/>
              <a:t>methodes</a:t>
            </a:r>
            <a:r>
              <a:rPr lang="fr-FR" sz="400" dirty="0"/>
              <a:t> qui permet </a:t>
            </a:r>
            <a:r>
              <a:rPr lang="fr-FR" sz="400" dirty="0" err="1"/>
              <a:t>gerer</a:t>
            </a:r>
            <a:r>
              <a:rPr lang="fr-FR" sz="400" dirty="0"/>
              <a:t> la vie d’un produit … Il </a:t>
            </a:r>
            <a:r>
              <a:rPr lang="fr-FR" sz="400" dirty="0" err="1"/>
              <a:t>pr</a:t>
            </a:r>
            <a:endParaRPr lang="fr-FR" sz="400" dirty="0"/>
          </a:p>
          <a:p>
            <a:r>
              <a:rPr lang="fr-FR" sz="400" dirty="0" err="1"/>
              <a:t>esent</a:t>
            </a:r>
            <a:r>
              <a:rPr lang="fr-FR" sz="400" dirty="0"/>
              <a:t> certains challenges</a:t>
            </a:r>
            <a:endParaRPr lang="fr-FR" sz="800"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11320448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5907958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54228001"/>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926253306"/>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16.xml"/><Relationship Id="rId5" Type="http://schemas.openxmlformats.org/officeDocument/2006/relationships/vmlDrawing" Target="../drawings/vmlDrawing11.v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034507472"/>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p15:clr>
            <a:srgbClr val="F26B43"/>
          </p15:clr>
        </p15:guide>
        <p15:guide id="2" pos="750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hyperlink" Target="https://www.journaldunet.fr/web-tech/guide-de-l-entreprise-collaborative/1443818-devops-le-mariage-du-developpeur-dev-et-de-l-administrateur-informatique-ops/" TargetMode="Externa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xml"/><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image" Target="../media/image12.emf"/><Relationship Id="rId7" Type="http://schemas.openxmlformats.org/officeDocument/2006/relationships/image" Target="../media/image43.jp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42.gif"/><Relationship Id="rId5" Type="http://schemas.openxmlformats.org/officeDocument/2006/relationships/image" Target="../media/image41.png"/><Relationship Id="rId4" Type="http://schemas.openxmlformats.org/officeDocument/2006/relationships/image" Target="../media/image13.jpg"/></Relationships>
</file>

<file path=ppt/slides/_rels/slide1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image" Target="../media/image12.emf"/><Relationship Id="rId7" Type="http://schemas.openxmlformats.org/officeDocument/2006/relationships/image" Target="../media/image16.jfif"/><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jpg"/></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6.jfif"/><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17.jpg"/></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svg"/><Relationship Id="rId7"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25.sv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svg"/></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4000" b="1" dirty="0"/>
              <a:t>Project Devops</a:t>
            </a:r>
            <a:br>
              <a:rPr lang="en-US" sz="4000" dirty="0"/>
            </a:br>
            <a:r>
              <a:rPr lang="en-US" sz="4000" dirty="0"/>
              <a:t>Joint d’</a:t>
            </a:r>
            <a:r>
              <a:rPr lang="fr-FR" sz="4000" dirty="0"/>
              <a:t>étanchéité</a:t>
            </a:r>
          </a:p>
        </p:txBody>
      </p:sp>
      <p:sp>
        <p:nvSpPr>
          <p:cNvPr id="3" name="Subtitle 2"/>
          <p:cNvSpPr>
            <a:spLocks noGrp="1"/>
          </p:cNvSpPr>
          <p:nvPr>
            <p:ph type="subTitle" idx="1"/>
          </p:nvPr>
        </p:nvSpPr>
        <p:spPr/>
        <p:txBody>
          <a:bodyPr/>
          <a:lstStyle/>
          <a:p>
            <a:r>
              <a:rPr lang="en-US" dirty="0"/>
              <a:t>Paris, 14/02/20 , Ana Belén SANCHEZ</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263352" y="188640"/>
            <a:ext cx="11125236" cy="916260"/>
          </a:xfrm>
        </p:spPr>
        <p:txBody>
          <a:bodyPr/>
          <a:lstStyle/>
          <a:p>
            <a:r>
              <a:rPr lang="fr-FR" dirty="0"/>
              <a:t>Qu’est-ce que le DevOps ?</a:t>
            </a:r>
            <a:endParaRPr lang="en-GB" dirty="0"/>
          </a:p>
        </p:txBody>
      </p:sp>
      <p:sp>
        <p:nvSpPr>
          <p:cNvPr id="5" name="Text Placeholder 4"/>
          <p:cNvSpPr>
            <a:spLocks noGrp="1"/>
          </p:cNvSpPr>
          <p:nvPr>
            <p:ph type="body" sz="quarter" idx="10"/>
          </p:nvPr>
        </p:nvSpPr>
        <p:spPr/>
        <p:txBody>
          <a:bodyPr/>
          <a:lstStyle/>
          <a:p>
            <a:pPr lvl="1"/>
            <a:r>
              <a:rPr lang="fr-FR" b="1" dirty="0"/>
              <a:t>Contrairement à d’autres démarches de transformation, DevOps n’est pas un référentiel de bonnes pratiques. C’est un principe opérationnel qui invite chaque organisation à repenser son cycle de vie applicatif au regard de ses objectifs stratégiques.</a:t>
            </a:r>
          </a:p>
          <a:p>
            <a:pPr lvl="1"/>
            <a:r>
              <a:rPr lang="fr-FR" dirty="0"/>
              <a:t> l’IT est un vecteur de croissance et de différenciation, donc un élément central de la stratégie de l’entreprise. C’est en réponse à cet enjeu qu’est né </a:t>
            </a:r>
            <a:r>
              <a:rPr lang="fr-FR" u="sng" dirty="0">
                <a:hlinkClick r:id="rId2" tooltip="DevOps"/>
              </a:rPr>
              <a:t>DevOps</a:t>
            </a:r>
            <a:r>
              <a:rPr lang="fr-FR" dirty="0"/>
              <a:t>.</a:t>
            </a:r>
            <a:endParaRPr lang="en-US" dirty="0"/>
          </a:p>
          <a:p>
            <a:endParaRPr lang="en-GB" dirty="0"/>
          </a:p>
        </p:txBody>
      </p:sp>
    </p:spTree>
    <p:extLst>
      <p:ext uri="{BB962C8B-B14F-4D97-AF65-F5344CB8AC3E}">
        <p14:creationId xmlns:p14="http://schemas.microsoft.com/office/powerpoint/2010/main" val="19114921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263352" y="188640"/>
            <a:ext cx="11125236" cy="916260"/>
          </a:xfrm>
        </p:spPr>
        <p:txBody>
          <a:bodyPr/>
          <a:lstStyle/>
          <a:p>
            <a:r>
              <a:rPr lang="fr-FR" dirty="0"/>
              <a:t>Contexte</a:t>
            </a:r>
            <a:endParaRPr lang="en-GB" dirty="0"/>
          </a:p>
        </p:txBody>
      </p:sp>
      <p:sp>
        <p:nvSpPr>
          <p:cNvPr id="2" name="ZoneTexte 1">
            <a:extLst>
              <a:ext uri="{FF2B5EF4-FFF2-40B4-BE49-F238E27FC236}">
                <a16:creationId xmlns:a16="http://schemas.microsoft.com/office/drawing/2014/main" id="{8AA8368F-6149-4FDF-8CBC-9B7763874578}"/>
              </a:ext>
            </a:extLst>
          </p:cNvPr>
          <p:cNvSpPr txBox="1"/>
          <p:nvPr/>
        </p:nvSpPr>
        <p:spPr>
          <a:xfrm>
            <a:off x="1271464" y="1412776"/>
            <a:ext cx="2664296" cy="646331"/>
          </a:xfrm>
          <a:prstGeom prst="rect">
            <a:avLst/>
          </a:prstGeom>
          <a:noFill/>
        </p:spPr>
        <p:txBody>
          <a:bodyPr wrap="square" rtlCol="0">
            <a:spAutoFit/>
          </a:bodyPr>
          <a:lstStyle/>
          <a:p>
            <a:r>
              <a:rPr lang="fr-FR" dirty="0">
                <a:solidFill>
                  <a:schemeClr val="tx1">
                    <a:lumMod val="65000"/>
                    <a:lumOff val="35000"/>
                  </a:schemeClr>
                </a:solidFill>
              </a:rPr>
              <a:t>Fabricants joints d’étanchéité</a:t>
            </a:r>
            <a:endParaRPr lang="fr-FR" dirty="0"/>
          </a:p>
        </p:txBody>
      </p:sp>
      <p:sp>
        <p:nvSpPr>
          <p:cNvPr id="3" name="ZoneTexte 2">
            <a:extLst>
              <a:ext uri="{FF2B5EF4-FFF2-40B4-BE49-F238E27FC236}">
                <a16:creationId xmlns:a16="http://schemas.microsoft.com/office/drawing/2014/main" id="{C625E7E7-E125-4780-8014-5E3E23714919}"/>
              </a:ext>
            </a:extLst>
          </p:cNvPr>
          <p:cNvSpPr txBox="1"/>
          <p:nvPr/>
        </p:nvSpPr>
        <p:spPr>
          <a:xfrm>
            <a:off x="4223792" y="1735941"/>
            <a:ext cx="3528392" cy="369332"/>
          </a:xfrm>
          <a:prstGeom prst="rect">
            <a:avLst/>
          </a:prstGeom>
          <a:noFill/>
        </p:spPr>
        <p:txBody>
          <a:bodyPr wrap="square" rtlCol="0">
            <a:spAutoFit/>
          </a:bodyPr>
          <a:lstStyle/>
          <a:p>
            <a:r>
              <a:rPr lang="fr-FR" dirty="0"/>
              <a:t>Mass </a:t>
            </a:r>
            <a:r>
              <a:rPr lang="fr-FR" dirty="0" err="1"/>
              <a:t>customization</a:t>
            </a:r>
            <a:endParaRPr lang="fr-FR" dirty="0"/>
          </a:p>
        </p:txBody>
      </p:sp>
      <p:pic>
        <p:nvPicPr>
          <p:cNvPr id="6" name="Image 5">
            <a:extLst>
              <a:ext uri="{FF2B5EF4-FFF2-40B4-BE49-F238E27FC236}">
                <a16:creationId xmlns:a16="http://schemas.microsoft.com/office/drawing/2014/main" id="{DB5EEAED-48DA-48A2-B402-85E0751763D6}"/>
              </a:ext>
            </a:extLst>
          </p:cNvPr>
          <p:cNvPicPr>
            <a:picLocks noChangeAspect="1"/>
          </p:cNvPicPr>
          <p:nvPr/>
        </p:nvPicPr>
        <p:blipFill>
          <a:blip r:embed="rId2"/>
          <a:stretch>
            <a:fillRect/>
          </a:stretch>
        </p:blipFill>
        <p:spPr>
          <a:xfrm>
            <a:off x="684008" y="2669895"/>
            <a:ext cx="10607959" cy="1623201"/>
          </a:xfrm>
          <a:prstGeom prst="rect">
            <a:avLst/>
          </a:prstGeom>
        </p:spPr>
      </p:pic>
      <p:pic>
        <p:nvPicPr>
          <p:cNvPr id="8" name="Image 7">
            <a:extLst>
              <a:ext uri="{FF2B5EF4-FFF2-40B4-BE49-F238E27FC236}">
                <a16:creationId xmlns:a16="http://schemas.microsoft.com/office/drawing/2014/main" id="{ACBBD07E-F2B2-413E-AC65-ECA75E024BDF}"/>
              </a:ext>
            </a:extLst>
          </p:cNvPr>
          <p:cNvPicPr>
            <a:picLocks noChangeAspect="1"/>
          </p:cNvPicPr>
          <p:nvPr/>
        </p:nvPicPr>
        <p:blipFill>
          <a:blip r:embed="rId3"/>
          <a:stretch>
            <a:fillRect/>
          </a:stretch>
        </p:blipFill>
        <p:spPr>
          <a:xfrm>
            <a:off x="1487488" y="4207472"/>
            <a:ext cx="3696020" cy="1188823"/>
          </a:xfrm>
          <a:prstGeom prst="rect">
            <a:avLst/>
          </a:prstGeom>
        </p:spPr>
      </p:pic>
      <p:pic>
        <p:nvPicPr>
          <p:cNvPr id="5" name="Image 4">
            <a:extLst>
              <a:ext uri="{FF2B5EF4-FFF2-40B4-BE49-F238E27FC236}">
                <a16:creationId xmlns:a16="http://schemas.microsoft.com/office/drawing/2014/main" id="{A82A2593-4027-4459-B774-D2AB23BDDFAF}"/>
              </a:ext>
            </a:extLst>
          </p:cNvPr>
          <p:cNvPicPr>
            <a:picLocks noChangeAspect="1"/>
          </p:cNvPicPr>
          <p:nvPr/>
        </p:nvPicPr>
        <p:blipFill>
          <a:blip r:embed="rId4"/>
          <a:stretch>
            <a:fillRect/>
          </a:stretch>
        </p:blipFill>
        <p:spPr>
          <a:xfrm>
            <a:off x="563157" y="5805264"/>
            <a:ext cx="6388155" cy="1081252"/>
          </a:xfrm>
          <a:prstGeom prst="rect">
            <a:avLst/>
          </a:prstGeom>
        </p:spPr>
      </p:pic>
    </p:spTree>
    <p:extLst>
      <p:ext uri="{BB962C8B-B14F-4D97-AF65-F5344CB8AC3E}">
        <p14:creationId xmlns:p14="http://schemas.microsoft.com/office/powerpoint/2010/main" val="39451458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C88D06-9C42-43C8-A963-7590BC3C77C5}"/>
              </a:ext>
            </a:extLst>
          </p:cNvPr>
          <p:cNvSpPr>
            <a:spLocks noGrp="1"/>
          </p:cNvSpPr>
          <p:nvPr>
            <p:ph type="title"/>
          </p:nvPr>
        </p:nvSpPr>
        <p:spPr/>
        <p:txBody>
          <a:bodyPr/>
          <a:lstStyle/>
          <a:p>
            <a:endParaRPr lang="fr-FR"/>
          </a:p>
        </p:txBody>
      </p:sp>
      <p:pic>
        <p:nvPicPr>
          <p:cNvPr id="5" name="Image 4">
            <a:extLst>
              <a:ext uri="{FF2B5EF4-FFF2-40B4-BE49-F238E27FC236}">
                <a16:creationId xmlns:a16="http://schemas.microsoft.com/office/drawing/2014/main" id="{0B8D5E8E-1750-4068-84DD-696E982296EF}"/>
              </a:ext>
            </a:extLst>
          </p:cNvPr>
          <p:cNvPicPr>
            <a:picLocks noChangeAspect="1"/>
          </p:cNvPicPr>
          <p:nvPr/>
        </p:nvPicPr>
        <p:blipFill>
          <a:blip r:embed="rId2"/>
          <a:stretch>
            <a:fillRect/>
          </a:stretch>
        </p:blipFill>
        <p:spPr>
          <a:xfrm>
            <a:off x="3359696" y="1595100"/>
            <a:ext cx="2594073" cy="1603387"/>
          </a:xfrm>
          <a:prstGeom prst="rect">
            <a:avLst/>
          </a:prstGeom>
        </p:spPr>
      </p:pic>
      <p:pic>
        <p:nvPicPr>
          <p:cNvPr id="6" name="Image 5">
            <a:extLst>
              <a:ext uri="{FF2B5EF4-FFF2-40B4-BE49-F238E27FC236}">
                <a16:creationId xmlns:a16="http://schemas.microsoft.com/office/drawing/2014/main" id="{98BE2D7A-E955-42DB-8C37-DBDC6433E342}"/>
              </a:ext>
            </a:extLst>
          </p:cNvPr>
          <p:cNvPicPr>
            <a:picLocks noChangeAspect="1"/>
          </p:cNvPicPr>
          <p:nvPr/>
        </p:nvPicPr>
        <p:blipFill>
          <a:blip r:embed="rId3"/>
          <a:stretch>
            <a:fillRect/>
          </a:stretch>
        </p:blipFill>
        <p:spPr>
          <a:xfrm>
            <a:off x="407368" y="1696514"/>
            <a:ext cx="2702834" cy="1400560"/>
          </a:xfrm>
          <a:prstGeom prst="rect">
            <a:avLst/>
          </a:prstGeom>
        </p:spPr>
      </p:pic>
      <p:sp>
        <p:nvSpPr>
          <p:cNvPr id="4" name="Espace réservé du texte 3">
            <a:extLst>
              <a:ext uri="{FF2B5EF4-FFF2-40B4-BE49-F238E27FC236}">
                <a16:creationId xmlns:a16="http://schemas.microsoft.com/office/drawing/2014/main" id="{BA316680-AB4A-4476-8F0A-EDF0381E8DBC}"/>
              </a:ext>
            </a:extLst>
          </p:cNvPr>
          <p:cNvSpPr>
            <a:spLocks noGrp="1"/>
          </p:cNvSpPr>
          <p:nvPr>
            <p:ph type="body" sz="quarter" idx="11"/>
          </p:nvPr>
        </p:nvSpPr>
        <p:spPr/>
        <p:txBody>
          <a:bodyPr/>
          <a:lstStyle/>
          <a:p>
            <a:endParaRPr lang="fr-FR"/>
          </a:p>
        </p:txBody>
      </p:sp>
      <p:pic>
        <p:nvPicPr>
          <p:cNvPr id="7" name="Image 6">
            <a:extLst>
              <a:ext uri="{FF2B5EF4-FFF2-40B4-BE49-F238E27FC236}">
                <a16:creationId xmlns:a16="http://schemas.microsoft.com/office/drawing/2014/main" id="{C28ACA83-C669-4C2E-BD5F-444FC40E052F}"/>
              </a:ext>
            </a:extLst>
          </p:cNvPr>
          <p:cNvPicPr>
            <a:picLocks noChangeAspect="1"/>
          </p:cNvPicPr>
          <p:nvPr/>
        </p:nvPicPr>
        <p:blipFill>
          <a:blip r:embed="rId4"/>
          <a:stretch>
            <a:fillRect/>
          </a:stretch>
        </p:blipFill>
        <p:spPr>
          <a:xfrm>
            <a:off x="6077349" y="1104900"/>
            <a:ext cx="2682947" cy="2119444"/>
          </a:xfrm>
          <a:prstGeom prst="rect">
            <a:avLst/>
          </a:prstGeom>
        </p:spPr>
      </p:pic>
      <p:pic>
        <p:nvPicPr>
          <p:cNvPr id="8" name="Image 7">
            <a:extLst>
              <a:ext uri="{FF2B5EF4-FFF2-40B4-BE49-F238E27FC236}">
                <a16:creationId xmlns:a16="http://schemas.microsoft.com/office/drawing/2014/main" id="{95AFE25A-85EF-423C-8AD9-4A4109430608}"/>
              </a:ext>
            </a:extLst>
          </p:cNvPr>
          <p:cNvPicPr>
            <a:picLocks noChangeAspect="1"/>
          </p:cNvPicPr>
          <p:nvPr/>
        </p:nvPicPr>
        <p:blipFill>
          <a:blip r:embed="rId5"/>
          <a:stretch>
            <a:fillRect/>
          </a:stretch>
        </p:blipFill>
        <p:spPr>
          <a:xfrm>
            <a:off x="8830098" y="1659354"/>
            <a:ext cx="2954534" cy="1466639"/>
          </a:xfrm>
          <a:prstGeom prst="rect">
            <a:avLst/>
          </a:prstGeom>
        </p:spPr>
      </p:pic>
    </p:spTree>
    <p:extLst>
      <p:ext uri="{BB962C8B-B14F-4D97-AF65-F5344CB8AC3E}">
        <p14:creationId xmlns:p14="http://schemas.microsoft.com/office/powerpoint/2010/main" val="27527578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63" name="Groupe 62">
            <a:extLst>
              <a:ext uri="{FF2B5EF4-FFF2-40B4-BE49-F238E27FC236}">
                <a16:creationId xmlns:a16="http://schemas.microsoft.com/office/drawing/2014/main" id="{13381904-C2C4-41C0-899F-943A6DCE9DBF}"/>
              </a:ext>
            </a:extLst>
          </p:cNvPr>
          <p:cNvGrpSpPr/>
          <p:nvPr/>
        </p:nvGrpSpPr>
        <p:grpSpPr>
          <a:xfrm>
            <a:off x="7188490" y="1730480"/>
            <a:ext cx="1994163" cy="4290809"/>
            <a:chOff x="7220045" y="1571129"/>
            <a:chExt cx="2054160" cy="4546736"/>
          </a:xfrm>
        </p:grpSpPr>
        <p:pic>
          <p:nvPicPr>
            <p:cNvPr id="31" name="Image 30">
              <a:extLst>
                <a:ext uri="{FF2B5EF4-FFF2-40B4-BE49-F238E27FC236}">
                  <a16:creationId xmlns:a16="http://schemas.microsoft.com/office/drawing/2014/main" id="{2F9DE336-0683-4400-9DBA-58EECDD6FFBF}"/>
                </a:ext>
              </a:extLst>
            </p:cNvPr>
            <p:cNvPicPr>
              <a:picLocks noChangeAspect="1"/>
            </p:cNvPicPr>
            <p:nvPr/>
          </p:nvPicPr>
          <p:blipFill rotWithShape="1">
            <a:blip r:embed="rId3"/>
            <a:srcRect l="70466" t="-6956" r="10681" b="6956"/>
            <a:stretch/>
          </p:blipFill>
          <p:spPr>
            <a:xfrm>
              <a:off x="7220045" y="1571129"/>
              <a:ext cx="1988446" cy="3039534"/>
            </a:xfrm>
            <a:prstGeom prst="rect">
              <a:avLst/>
            </a:prstGeom>
          </p:spPr>
        </p:pic>
        <p:sp>
          <p:nvSpPr>
            <p:cNvPr id="49" name="Rectangle 48">
              <a:extLst>
                <a:ext uri="{FF2B5EF4-FFF2-40B4-BE49-F238E27FC236}">
                  <a16:creationId xmlns:a16="http://schemas.microsoft.com/office/drawing/2014/main" id="{41426C00-ABB1-4651-B59C-F635D4375937}"/>
                </a:ext>
              </a:extLst>
            </p:cNvPr>
            <p:cNvSpPr/>
            <p:nvPr/>
          </p:nvSpPr>
          <p:spPr>
            <a:xfrm>
              <a:off x="7329989" y="4387933"/>
              <a:ext cx="1944216" cy="72008"/>
            </a:xfrm>
            <a:prstGeom prst="rect">
              <a:avLst/>
            </a:prstGeom>
            <a:solidFill>
              <a:schemeClr val="tx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Ellipse 51">
              <a:extLst>
                <a:ext uri="{FF2B5EF4-FFF2-40B4-BE49-F238E27FC236}">
                  <a16:creationId xmlns:a16="http://schemas.microsoft.com/office/drawing/2014/main" id="{3ED1CB53-31EC-40EC-BB91-63DE0F618FEF}"/>
                </a:ext>
              </a:extLst>
            </p:cNvPr>
            <p:cNvSpPr/>
            <p:nvPr/>
          </p:nvSpPr>
          <p:spPr>
            <a:xfrm>
              <a:off x="8199885" y="4306254"/>
              <a:ext cx="204423" cy="2253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8" name="Image 57" descr="Une image contenant jouet, dessin&#10;&#10;Description générée automatiquement">
              <a:extLst>
                <a:ext uri="{FF2B5EF4-FFF2-40B4-BE49-F238E27FC236}">
                  <a16:creationId xmlns:a16="http://schemas.microsoft.com/office/drawing/2014/main" id="{6CE052C6-F5E3-4A0F-92EB-1B613FF6E93D}"/>
                </a:ext>
              </a:extLst>
            </p:cNvPr>
            <p:cNvPicPr>
              <a:picLocks noChangeAspect="1"/>
            </p:cNvPicPr>
            <p:nvPr/>
          </p:nvPicPr>
          <p:blipFill rotWithShape="1">
            <a:blip r:embed="rId4">
              <a:extLst>
                <a:ext uri="{28A0092B-C50C-407E-A947-70E740481C1C}">
                  <a14:useLocalDpi xmlns:a14="http://schemas.microsoft.com/office/drawing/2010/main" val="0"/>
                </a:ext>
              </a:extLst>
            </a:blip>
            <a:srcRect l="72533" t="67699" r="5471" b="563"/>
            <a:stretch/>
          </p:blipFill>
          <p:spPr>
            <a:xfrm>
              <a:off x="7252848" y="4676442"/>
              <a:ext cx="1944215" cy="1441423"/>
            </a:xfrm>
            <a:prstGeom prst="rect">
              <a:avLst/>
            </a:prstGeom>
          </p:spPr>
        </p:pic>
      </p:grpSp>
      <p:sp>
        <p:nvSpPr>
          <p:cNvPr id="4" name="Title 3"/>
          <p:cNvSpPr>
            <a:spLocks noGrp="1"/>
          </p:cNvSpPr>
          <p:nvPr>
            <p:ph type="title"/>
          </p:nvPr>
        </p:nvSpPr>
        <p:spPr>
          <a:xfrm>
            <a:off x="1822930" y="102608"/>
            <a:ext cx="6844468" cy="1403091"/>
          </a:xfrm>
        </p:spPr>
        <p:txBody>
          <a:bodyPr/>
          <a:lstStyle/>
          <a:p>
            <a:r>
              <a:rPr lang="fr-FR" sz="6600" dirty="0">
                <a:effectLst>
                  <a:outerShdw blurRad="38100" dist="38100" dir="2700000" algn="tl">
                    <a:srgbClr val="000000">
                      <a:alpha val="43137"/>
                    </a:srgbClr>
                  </a:outerShdw>
                </a:effectLst>
                <a:latin typeface="Bahnschrift Condensed" panose="020B0502040204020203" pitchFamily="34" charset="0"/>
              </a:rPr>
              <a:t>Contexte</a:t>
            </a:r>
            <a:endParaRPr lang="en-GB" sz="6600" dirty="0">
              <a:effectLst>
                <a:outerShdw blurRad="38100" dist="38100" dir="2700000" algn="tl">
                  <a:srgbClr val="000000">
                    <a:alpha val="43137"/>
                  </a:srgbClr>
                </a:outerShdw>
              </a:effectLst>
              <a:latin typeface="Bahnschrift Condensed" panose="020B0502040204020203" pitchFamily="34" charset="0"/>
            </a:endParaRPr>
          </a:p>
        </p:txBody>
      </p:sp>
      <p:grpSp>
        <p:nvGrpSpPr>
          <p:cNvPr id="20" name="Groupe 19">
            <a:extLst>
              <a:ext uri="{FF2B5EF4-FFF2-40B4-BE49-F238E27FC236}">
                <a16:creationId xmlns:a16="http://schemas.microsoft.com/office/drawing/2014/main" id="{401EE9E7-ED55-46E8-B511-4E80879DC112}"/>
              </a:ext>
            </a:extLst>
          </p:cNvPr>
          <p:cNvGrpSpPr/>
          <p:nvPr/>
        </p:nvGrpSpPr>
        <p:grpSpPr>
          <a:xfrm>
            <a:off x="119337" y="116632"/>
            <a:ext cx="1368152" cy="1296144"/>
            <a:chOff x="1912378" y="1996903"/>
            <a:chExt cx="2101601" cy="1972990"/>
          </a:xfrm>
        </p:grpSpPr>
        <p:pic>
          <p:nvPicPr>
            <p:cNvPr id="19" name="Image 18">
              <a:extLst>
                <a:ext uri="{FF2B5EF4-FFF2-40B4-BE49-F238E27FC236}">
                  <a16:creationId xmlns:a16="http://schemas.microsoft.com/office/drawing/2014/main" id="{87ED9DA4-8483-458F-A0E5-E44ECEDB6EA6}"/>
                </a:ext>
              </a:extLst>
            </p:cNvPr>
            <p:cNvPicPr>
              <a:picLocks noChangeAspect="1"/>
            </p:cNvPicPr>
            <p:nvPr/>
          </p:nvPicPr>
          <p:blipFill>
            <a:blip r:embed="rId5"/>
            <a:stretch>
              <a:fillRect/>
            </a:stretch>
          </p:blipFill>
          <p:spPr>
            <a:xfrm>
              <a:off x="1912378" y="1996903"/>
              <a:ext cx="2078916" cy="1963082"/>
            </a:xfrm>
            <a:prstGeom prst="rect">
              <a:avLst/>
            </a:prstGeom>
          </p:spPr>
        </p:pic>
        <p:sp>
          <p:nvSpPr>
            <p:cNvPr id="5" name="Oval 20">
              <a:extLst>
                <a:ext uri="{FF2B5EF4-FFF2-40B4-BE49-F238E27FC236}">
                  <a16:creationId xmlns:a16="http://schemas.microsoft.com/office/drawing/2014/main" id="{6DEA9BCD-19CE-45BE-ACD3-CB0AA67FEE67}"/>
                </a:ext>
              </a:extLst>
            </p:cNvPr>
            <p:cNvSpPr/>
            <p:nvPr/>
          </p:nvSpPr>
          <p:spPr>
            <a:xfrm>
              <a:off x="2142114" y="2117006"/>
              <a:ext cx="1871865" cy="185288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grpSp>
          <p:nvGrpSpPr>
            <p:cNvPr id="18" name="Groupe 17">
              <a:extLst>
                <a:ext uri="{FF2B5EF4-FFF2-40B4-BE49-F238E27FC236}">
                  <a16:creationId xmlns:a16="http://schemas.microsoft.com/office/drawing/2014/main" id="{61275859-6A81-462F-9C49-A3130E971A36}"/>
                </a:ext>
              </a:extLst>
            </p:cNvPr>
            <p:cNvGrpSpPr/>
            <p:nvPr/>
          </p:nvGrpSpPr>
          <p:grpSpPr>
            <a:xfrm>
              <a:off x="2279791" y="2340228"/>
              <a:ext cx="1711503" cy="1596964"/>
              <a:chOff x="132317" y="199969"/>
              <a:chExt cx="1711503" cy="1596964"/>
            </a:xfrm>
          </p:grpSpPr>
          <p:grpSp>
            <p:nvGrpSpPr>
              <p:cNvPr id="11" name="Groupe 10">
                <a:extLst>
                  <a:ext uri="{FF2B5EF4-FFF2-40B4-BE49-F238E27FC236}">
                    <a16:creationId xmlns:a16="http://schemas.microsoft.com/office/drawing/2014/main" id="{07658592-0BDD-4329-8BEC-7B503EB42C5F}"/>
                  </a:ext>
                </a:extLst>
              </p:cNvPr>
              <p:cNvGrpSpPr/>
              <p:nvPr/>
            </p:nvGrpSpPr>
            <p:grpSpPr>
              <a:xfrm>
                <a:off x="132317" y="199969"/>
                <a:ext cx="1711503" cy="1596964"/>
                <a:chOff x="119336" y="223493"/>
                <a:chExt cx="1800200" cy="1645197"/>
              </a:xfrm>
            </p:grpSpPr>
            <p:pic>
              <p:nvPicPr>
                <p:cNvPr id="3" name="Image 2" descr="Une image contenant table, assis, bleu, homme&#10;&#10;Description générée automatiquement">
                  <a:extLst>
                    <a:ext uri="{FF2B5EF4-FFF2-40B4-BE49-F238E27FC236}">
                      <a16:creationId xmlns:a16="http://schemas.microsoft.com/office/drawing/2014/main" id="{2B71C02F-2674-4958-9EA9-A3A1580B4216}"/>
                    </a:ext>
                  </a:extLst>
                </p:cNvPr>
                <p:cNvPicPr>
                  <a:picLocks noChangeAspect="1"/>
                </p:cNvPicPr>
                <p:nvPr/>
              </p:nvPicPr>
              <p:blipFill>
                <a:blip r:embed="rId6">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19336" y="223493"/>
                  <a:ext cx="1800200" cy="1645197"/>
                </a:xfrm>
                <a:prstGeom prst="ellipse">
                  <a:avLst/>
                </a:prstGeom>
                <a:solidFill>
                  <a:srgbClr val="12ABDB"/>
                </a:solidFill>
                <a:ln>
                  <a:noFill/>
                </a:ln>
              </p:spPr>
            </p:pic>
            <p:sp>
              <p:nvSpPr>
                <p:cNvPr id="10" name="Ellipse 9">
                  <a:extLst>
                    <a:ext uri="{FF2B5EF4-FFF2-40B4-BE49-F238E27FC236}">
                      <a16:creationId xmlns:a16="http://schemas.microsoft.com/office/drawing/2014/main" id="{09F53BB8-EA63-4C86-82E6-59A4D0CECAB9}"/>
                    </a:ext>
                  </a:extLst>
                </p:cNvPr>
                <p:cNvSpPr/>
                <p:nvPr/>
              </p:nvSpPr>
              <p:spPr>
                <a:xfrm>
                  <a:off x="411690" y="1492943"/>
                  <a:ext cx="651190" cy="2714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13" name="Ellipse 12">
                <a:extLst>
                  <a:ext uri="{FF2B5EF4-FFF2-40B4-BE49-F238E27FC236}">
                    <a16:creationId xmlns:a16="http://schemas.microsoft.com/office/drawing/2014/main" id="{19789393-2CEF-4B12-A68D-18C163EE31EE}"/>
                  </a:ext>
                </a:extLst>
              </p:cNvPr>
              <p:cNvSpPr/>
              <p:nvPr/>
            </p:nvSpPr>
            <p:spPr>
              <a:xfrm>
                <a:off x="810653" y="1429579"/>
                <a:ext cx="577799" cy="2634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Ellipse 13">
                <a:extLst>
                  <a:ext uri="{FF2B5EF4-FFF2-40B4-BE49-F238E27FC236}">
                    <a16:creationId xmlns:a16="http://schemas.microsoft.com/office/drawing/2014/main" id="{B401BEE8-3BA3-493F-A721-C6BAB63F24D7}"/>
                  </a:ext>
                </a:extLst>
              </p:cNvPr>
              <p:cNvSpPr/>
              <p:nvPr/>
            </p:nvSpPr>
            <p:spPr>
              <a:xfrm>
                <a:off x="937364" y="1403047"/>
                <a:ext cx="639361" cy="2634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grpSp>
        <p:nvGrpSpPr>
          <p:cNvPr id="59" name="Groupe 58">
            <a:extLst>
              <a:ext uri="{FF2B5EF4-FFF2-40B4-BE49-F238E27FC236}">
                <a16:creationId xmlns:a16="http://schemas.microsoft.com/office/drawing/2014/main" id="{BEDDA323-6C2E-40F2-97BC-E32A6D543425}"/>
              </a:ext>
            </a:extLst>
          </p:cNvPr>
          <p:cNvGrpSpPr/>
          <p:nvPr/>
        </p:nvGrpSpPr>
        <p:grpSpPr>
          <a:xfrm>
            <a:off x="1356651" y="2074274"/>
            <a:ext cx="2125089" cy="3947014"/>
            <a:chOff x="1316468" y="2074274"/>
            <a:chExt cx="2125089" cy="3947014"/>
          </a:xfrm>
        </p:grpSpPr>
        <p:pic>
          <p:nvPicPr>
            <p:cNvPr id="28" name="Image 27">
              <a:extLst>
                <a:ext uri="{FF2B5EF4-FFF2-40B4-BE49-F238E27FC236}">
                  <a16:creationId xmlns:a16="http://schemas.microsoft.com/office/drawing/2014/main" id="{EB25D322-2D98-4687-B7B6-B50F6DD76177}"/>
                </a:ext>
              </a:extLst>
            </p:cNvPr>
            <p:cNvPicPr>
              <a:picLocks noChangeAspect="1"/>
            </p:cNvPicPr>
            <p:nvPr/>
          </p:nvPicPr>
          <p:blipFill rotWithShape="1">
            <a:blip r:embed="rId3"/>
            <a:srcRect r="81147"/>
            <a:stretch/>
          </p:blipFill>
          <p:spPr>
            <a:xfrm>
              <a:off x="1720099" y="2074274"/>
              <a:ext cx="1656184" cy="2676602"/>
            </a:xfrm>
            <a:prstGeom prst="rect">
              <a:avLst/>
            </a:prstGeom>
          </p:spPr>
        </p:pic>
        <p:sp>
          <p:nvSpPr>
            <p:cNvPr id="45" name="Rectangle 44">
              <a:extLst>
                <a:ext uri="{FF2B5EF4-FFF2-40B4-BE49-F238E27FC236}">
                  <a16:creationId xmlns:a16="http://schemas.microsoft.com/office/drawing/2014/main" id="{C6FB82DA-A52A-4D01-81B2-9331D777C00F}"/>
                </a:ext>
              </a:extLst>
            </p:cNvPr>
            <p:cNvSpPr/>
            <p:nvPr/>
          </p:nvSpPr>
          <p:spPr>
            <a:xfrm>
              <a:off x="1497341" y="4382910"/>
              <a:ext cx="1944216" cy="72008"/>
            </a:xfrm>
            <a:prstGeom prst="rect">
              <a:avLst/>
            </a:prstGeom>
            <a:solidFill>
              <a:schemeClr val="tx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Ellipse 49">
              <a:extLst>
                <a:ext uri="{FF2B5EF4-FFF2-40B4-BE49-F238E27FC236}">
                  <a16:creationId xmlns:a16="http://schemas.microsoft.com/office/drawing/2014/main" id="{981933DE-550E-4D1A-96CA-091BCD0547DF}"/>
                </a:ext>
              </a:extLst>
            </p:cNvPr>
            <p:cNvSpPr/>
            <p:nvPr/>
          </p:nvSpPr>
          <p:spPr>
            <a:xfrm>
              <a:off x="2278212" y="4319651"/>
              <a:ext cx="204423" cy="2253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5" name="Image 54" descr="Une image contenant jouet, dessin&#10;&#10;Description générée automatiquement">
              <a:extLst>
                <a:ext uri="{FF2B5EF4-FFF2-40B4-BE49-F238E27FC236}">
                  <a16:creationId xmlns:a16="http://schemas.microsoft.com/office/drawing/2014/main" id="{FD33097C-C8CD-4D8E-8FA9-CA7E7DB3098D}"/>
                </a:ext>
              </a:extLst>
            </p:cNvPr>
            <p:cNvPicPr>
              <a:picLocks noChangeAspect="1"/>
            </p:cNvPicPr>
            <p:nvPr/>
          </p:nvPicPr>
          <p:blipFill rotWithShape="1">
            <a:blip r:embed="rId4">
              <a:extLst>
                <a:ext uri="{28A0092B-C50C-407E-A947-70E740481C1C}">
                  <a14:useLocalDpi xmlns:a14="http://schemas.microsoft.com/office/drawing/2010/main" val="0"/>
                </a:ext>
              </a:extLst>
            </a:blip>
            <a:srcRect l="4380" t="68114" r="75400" b="2761"/>
            <a:stretch/>
          </p:blipFill>
          <p:spPr>
            <a:xfrm>
              <a:off x="1316468" y="4698563"/>
              <a:ext cx="1787314" cy="1322725"/>
            </a:xfrm>
            <a:prstGeom prst="rect">
              <a:avLst/>
            </a:prstGeom>
          </p:spPr>
        </p:pic>
      </p:grpSp>
      <p:grpSp>
        <p:nvGrpSpPr>
          <p:cNvPr id="60" name="Groupe 59">
            <a:extLst>
              <a:ext uri="{FF2B5EF4-FFF2-40B4-BE49-F238E27FC236}">
                <a16:creationId xmlns:a16="http://schemas.microsoft.com/office/drawing/2014/main" id="{CD7E46C5-60D6-4BAD-B98B-8E12D1276ED3}"/>
              </a:ext>
            </a:extLst>
          </p:cNvPr>
          <p:cNvGrpSpPr/>
          <p:nvPr/>
        </p:nvGrpSpPr>
        <p:grpSpPr>
          <a:xfrm>
            <a:off x="3376283" y="2074274"/>
            <a:ext cx="2009490" cy="3906539"/>
            <a:chOff x="3376283" y="2074274"/>
            <a:chExt cx="2009490" cy="3906539"/>
          </a:xfrm>
        </p:grpSpPr>
        <p:pic>
          <p:nvPicPr>
            <p:cNvPr id="29" name="Image 28">
              <a:extLst>
                <a:ext uri="{FF2B5EF4-FFF2-40B4-BE49-F238E27FC236}">
                  <a16:creationId xmlns:a16="http://schemas.microsoft.com/office/drawing/2014/main" id="{1947712E-7D9D-4531-86C5-406DF16516D1}"/>
                </a:ext>
              </a:extLst>
            </p:cNvPr>
            <p:cNvPicPr>
              <a:picLocks noChangeAspect="1"/>
            </p:cNvPicPr>
            <p:nvPr/>
          </p:nvPicPr>
          <p:blipFill rotWithShape="1">
            <a:blip r:embed="rId3"/>
            <a:srcRect l="21424" t="4072" r="59723" b="-4072"/>
            <a:stretch/>
          </p:blipFill>
          <p:spPr>
            <a:xfrm>
              <a:off x="3453211" y="2074274"/>
              <a:ext cx="1656184" cy="2676602"/>
            </a:xfrm>
            <a:prstGeom prst="rect">
              <a:avLst/>
            </a:prstGeom>
          </p:spPr>
        </p:pic>
        <p:sp>
          <p:nvSpPr>
            <p:cNvPr id="46" name="Rectangle 45">
              <a:extLst>
                <a:ext uri="{FF2B5EF4-FFF2-40B4-BE49-F238E27FC236}">
                  <a16:creationId xmlns:a16="http://schemas.microsoft.com/office/drawing/2014/main" id="{84A896A8-4775-4083-B9E3-FCE434E9B66F}"/>
                </a:ext>
              </a:extLst>
            </p:cNvPr>
            <p:cNvSpPr/>
            <p:nvPr/>
          </p:nvSpPr>
          <p:spPr>
            <a:xfrm>
              <a:off x="3441557" y="4382910"/>
              <a:ext cx="1944216" cy="72008"/>
            </a:xfrm>
            <a:prstGeom prst="rect">
              <a:avLst/>
            </a:prstGeom>
            <a:solidFill>
              <a:schemeClr val="tx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Ellipse 50">
              <a:extLst>
                <a:ext uri="{FF2B5EF4-FFF2-40B4-BE49-F238E27FC236}">
                  <a16:creationId xmlns:a16="http://schemas.microsoft.com/office/drawing/2014/main" id="{B9E4FD9B-3CB7-4066-96DF-B5066493204C}"/>
                </a:ext>
              </a:extLst>
            </p:cNvPr>
            <p:cNvSpPr/>
            <p:nvPr/>
          </p:nvSpPr>
          <p:spPr>
            <a:xfrm>
              <a:off x="4199179" y="4319651"/>
              <a:ext cx="204423" cy="2253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6" name="Image 55" descr="Une image contenant jouet, dessin&#10;&#10;Description générée automatiquement">
              <a:extLst>
                <a:ext uri="{FF2B5EF4-FFF2-40B4-BE49-F238E27FC236}">
                  <a16:creationId xmlns:a16="http://schemas.microsoft.com/office/drawing/2014/main" id="{DF1E3FF3-A4B5-4BC8-987F-4DD8DA9F59A7}"/>
                </a:ext>
              </a:extLst>
            </p:cNvPr>
            <p:cNvPicPr>
              <a:picLocks noChangeAspect="1"/>
            </p:cNvPicPr>
            <p:nvPr/>
          </p:nvPicPr>
          <p:blipFill rotWithShape="1">
            <a:blip r:embed="rId4">
              <a:extLst>
                <a:ext uri="{28A0092B-C50C-407E-A947-70E740481C1C}">
                  <a14:useLocalDpi xmlns:a14="http://schemas.microsoft.com/office/drawing/2010/main" val="0"/>
                </a:ext>
              </a:extLst>
            </a:blip>
            <a:srcRect l="27361" t="67050" r="52419" b="3825"/>
            <a:stretch/>
          </p:blipFill>
          <p:spPr>
            <a:xfrm>
              <a:off x="3376283" y="4658088"/>
              <a:ext cx="1787314" cy="1322725"/>
            </a:xfrm>
            <a:prstGeom prst="rect">
              <a:avLst/>
            </a:prstGeom>
          </p:spPr>
        </p:pic>
      </p:grpSp>
      <p:grpSp>
        <p:nvGrpSpPr>
          <p:cNvPr id="61" name="Groupe 60">
            <a:extLst>
              <a:ext uri="{FF2B5EF4-FFF2-40B4-BE49-F238E27FC236}">
                <a16:creationId xmlns:a16="http://schemas.microsoft.com/office/drawing/2014/main" id="{88804A23-BB2F-4FFC-9593-1940FE310E0E}"/>
              </a:ext>
            </a:extLst>
          </p:cNvPr>
          <p:cNvGrpSpPr/>
          <p:nvPr/>
        </p:nvGrpSpPr>
        <p:grpSpPr>
          <a:xfrm>
            <a:off x="5385773" y="2114343"/>
            <a:ext cx="1944216" cy="3888081"/>
            <a:chOff x="5385773" y="2114343"/>
            <a:chExt cx="1944216" cy="3888081"/>
          </a:xfrm>
        </p:grpSpPr>
        <p:pic>
          <p:nvPicPr>
            <p:cNvPr id="30" name="Image 29">
              <a:extLst>
                <a:ext uri="{FF2B5EF4-FFF2-40B4-BE49-F238E27FC236}">
                  <a16:creationId xmlns:a16="http://schemas.microsoft.com/office/drawing/2014/main" id="{E37AFF95-A046-4F3E-B195-557D54666C6A}"/>
                </a:ext>
              </a:extLst>
            </p:cNvPr>
            <p:cNvPicPr>
              <a:picLocks noChangeAspect="1"/>
            </p:cNvPicPr>
            <p:nvPr/>
          </p:nvPicPr>
          <p:blipFill rotWithShape="1">
            <a:blip r:embed="rId3"/>
            <a:srcRect l="45903" t="4837" r="35244" b="-4837"/>
            <a:stretch/>
          </p:blipFill>
          <p:spPr>
            <a:xfrm>
              <a:off x="5513026" y="2114343"/>
              <a:ext cx="1656184" cy="2676602"/>
            </a:xfrm>
            <a:prstGeom prst="rect">
              <a:avLst/>
            </a:prstGeom>
          </p:spPr>
        </p:pic>
        <p:sp>
          <p:nvSpPr>
            <p:cNvPr id="47" name="Rectangle 46">
              <a:extLst>
                <a:ext uri="{FF2B5EF4-FFF2-40B4-BE49-F238E27FC236}">
                  <a16:creationId xmlns:a16="http://schemas.microsoft.com/office/drawing/2014/main" id="{120DDAB9-B793-43E6-A00D-10F180F31534}"/>
                </a:ext>
              </a:extLst>
            </p:cNvPr>
            <p:cNvSpPr/>
            <p:nvPr/>
          </p:nvSpPr>
          <p:spPr>
            <a:xfrm>
              <a:off x="5385773" y="4382910"/>
              <a:ext cx="1944216" cy="72008"/>
            </a:xfrm>
            <a:prstGeom prst="rect">
              <a:avLst/>
            </a:prstGeom>
            <a:solidFill>
              <a:schemeClr val="tx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Ellipse 52">
              <a:extLst>
                <a:ext uri="{FF2B5EF4-FFF2-40B4-BE49-F238E27FC236}">
                  <a16:creationId xmlns:a16="http://schemas.microsoft.com/office/drawing/2014/main" id="{B00893E3-4515-482D-B3C7-9B578A50D707}"/>
                </a:ext>
              </a:extLst>
            </p:cNvPr>
            <p:cNvSpPr/>
            <p:nvPr/>
          </p:nvSpPr>
          <p:spPr>
            <a:xfrm>
              <a:off x="6096000" y="4319651"/>
              <a:ext cx="204423" cy="2253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7" name="Image 56" descr="Une image contenant jouet, dessin&#10;&#10;Description générée automatiquement">
              <a:extLst>
                <a:ext uri="{FF2B5EF4-FFF2-40B4-BE49-F238E27FC236}">
                  <a16:creationId xmlns:a16="http://schemas.microsoft.com/office/drawing/2014/main" id="{424EFD93-F15A-4062-A060-FE02954DFA98}"/>
                </a:ext>
              </a:extLst>
            </p:cNvPr>
            <p:cNvPicPr>
              <a:picLocks noChangeAspect="1"/>
            </p:cNvPicPr>
            <p:nvPr/>
          </p:nvPicPr>
          <p:blipFill rotWithShape="1">
            <a:blip r:embed="rId4">
              <a:extLst>
                <a:ext uri="{28A0092B-C50C-407E-A947-70E740481C1C}">
                  <a14:useLocalDpi xmlns:a14="http://schemas.microsoft.com/office/drawing/2010/main" val="0"/>
                </a:ext>
              </a:extLst>
            </a:blip>
            <a:srcRect l="50698" t="67849" r="29082" b="3026"/>
            <a:stretch/>
          </p:blipFill>
          <p:spPr>
            <a:xfrm>
              <a:off x="5427148" y="4679699"/>
              <a:ext cx="1787314" cy="1322725"/>
            </a:xfrm>
            <a:prstGeom prst="rect">
              <a:avLst/>
            </a:prstGeom>
          </p:spPr>
        </p:pic>
      </p:grpSp>
      <p:sp>
        <p:nvSpPr>
          <p:cNvPr id="64" name="Title 3">
            <a:extLst>
              <a:ext uri="{FF2B5EF4-FFF2-40B4-BE49-F238E27FC236}">
                <a16:creationId xmlns:a16="http://schemas.microsoft.com/office/drawing/2014/main" id="{D773A95D-A561-4B41-8893-93D787F9DCBC}"/>
              </a:ext>
            </a:extLst>
          </p:cNvPr>
          <p:cNvSpPr txBox="1">
            <a:spLocks/>
          </p:cNvSpPr>
          <p:nvPr/>
        </p:nvSpPr>
        <p:spPr>
          <a:xfrm>
            <a:off x="4315746" y="2689579"/>
            <a:ext cx="6810290" cy="1422651"/>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fr-FR" sz="3600"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Customisation massive</a:t>
            </a:r>
            <a:endParaRPr lang="en-GB" sz="3600"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endParaRPr>
          </a:p>
        </p:txBody>
      </p:sp>
      <p:sp>
        <p:nvSpPr>
          <p:cNvPr id="65" name="Title 3">
            <a:extLst>
              <a:ext uri="{FF2B5EF4-FFF2-40B4-BE49-F238E27FC236}">
                <a16:creationId xmlns:a16="http://schemas.microsoft.com/office/drawing/2014/main" id="{7382A28B-4671-4218-AAD1-DF3C43986452}"/>
              </a:ext>
            </a:extLst>
          </p:cNvPr>
          <p:cNvSpPr txBox="1">
            <a:spLocks/>
          </p:cNvSpPr>
          <p:nvPr/>
        </p:nvSpPr>
        <p:spPr>
          <a:xfrm>
            <a:off x="4344275" y="4050700"/>
            <a:ext cx="6428664" cy="1403091"/>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fr-FR" sz="3600"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L’intégration et  « digital networking » de procédés </a:t>
            </a:r>
            <a:endParaRPr lang="en-GB" sz="3600"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endParaRPr>
          </a:p>
        </p:txBody>
      </p:sp>
      <p:pic>
        <p:nvPicPr>
          <p:cNvPr id="67" name="Image 66" descr="Une image contenant dessin&#10;&#10;Description générée automatiquement">
            <a:extLst>
              <a:ext uri="{FF2B5EF4-FFF2-40B4-BE49-F238E27FC236}">
                <a16:creationId xmlns:a16="http://schemas.microsoft.com/office/drawing/2014/main" id="{2596D634-9EC1-4CE8-81EC-B1F2AD996DF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63756" y="3024767"/>
            <a:ext cx="722796" cy="722796"/>
          </a:xfrm>
          <a:prstGeom prst="ellipse">
            <a:avLst/>
          </a:prstGeom>
          <a:ln>
            <a:noFill/>
          </a:ln>
          <a:effectLst>
            <a:softEdge rad="112500"/>
          </a:effectLst>
        </p:spPr>
      </p:pic>
      <p:pic>
        <p:nvPicPr>
          <p:cNvPr id="68" name="Image 67" descr="Une image contenant dessin&#10;&#10;Description générée automatiquement">
            <a:extLst>
              <a:ext uri="{FF2B5EF4-FFF2-40B4-BE49-F238E27FC236}">
                <a16:creationId xmlns:a16="http://schemas.microsoft.com/office/drawing/2014/main" id="{930D52DD-0E2D-4514-B683-E6C459DCD26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42650" y="4130984"/>
            <a:ext cx="722796" cy="722796"/>
          </a:xfrm>
          <a:prstGeom prst="ellipse">
            <a:avLst/>
          </a:prstGeom>
          <a:ln>
            <a:noFill/>
          </a:ln>
          <a:effectLst>
            <a:softEdge rad="112500"/>
          </a:effectLst>
        </p:spPr>
      </p:pic>
      <p:grpSp>
        <p:nvGrpSpPr>
          <p:cNvPr id="69" name="Groupe 68">
            <a:extLst>
              <a:ext uri="{FF2B5EF4-FFF2-40B4-BE49-F238E27FC236}">
                <a16:creationId xmlns:a16="http://schemas.microsoft.com/office/drawing/2014/main" id="{33D06846-1319-497E-B31B-5F4F644A886E}"/>
              </a:ext>
            </a:extLst>
          </p:cNvPr>
          <p:cNvGrpSpPr/>
          <p:nvPr/>
        </p:nvGrpSpPr>
        <p:grpSpPr>
          <a:xfrm>
            <a:off x="4799856" y="972108"/>
            <a:ext cx="1742609" cy="190500"/>
            <a:chOff x="5378756" y="878988"/>
            <a:chExt cx="1742609" cy="190500"/>
          </a:xfrm>
        </p:grpSpPr>
        <p:sp>
          <p:nvSpPr>
            <p:cNvPr id="70" name="Oval 5">
              <a:extLst>
                <a:ext uri="{FF2B5EF4-FFF2-40B4-BE49-F238E27FC236}">
                  <a16:creationId xmlns:a16="http://schemas.microsoft.com/office/drawing/2014/main" id="{6B63AD77-4E11-4C4D-90BF-1E38EB63D579}"/>
                </a:ext>
              </a:extLst>
            </p:cNvPr>
            <p:cNvSpPr/>
            <p:nvPr/>
          </p:nvSpPr>
          <p:spPr>
            <a:xfrm>
              <a:off x="5378756" y="878988"/>
              <a:ext cx="190500" cy="1905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6">
              <a:extLst>
                <a:ext uri="{FF2B5EF4-FFF2-40B4-BE49-F238E27FC236}">
                  <a16:creationId xmlns:a16="http://schemas.microsoft.com/office/drawing/2014/main" id="{C6E5F5EE-C662-4569-9C73-887DFA9084F2}"/>
                </a:ext>
              </a:extLst>
            </p:cNvPr>
            <p:cNvSpPr/>
            <p:nvPr/>
          </p:nvSpPr>
          <p:spPr>
            <a:xfrm>
              <a:off x="5689906" y="878988"/>
              <a:ext cx="190500" cy="1905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
              <a:extLst>
                <a:ext uri="{FF2B5EF4-FFF2-40B4-BE49-F238E27FC236}">
                  <a16:creationId xmlns:a16="http://schemas.microsoft.com/office/drawing/2014/main" id="{10ADC7BA-7B5E-4AFD-B0E7-5C4673B9DEC2}"/>
                </a:ext>
              </a:extLst>
            </p:cNvPr>
            <p:cNvSpPr/>
            <p:nvPr/>
          </p:nvSpPr>
          <p:spPr>
            <a:xfrm>
              <a:off x="6000692" y="878988"/>
              <a:ext cx="190500" cy="1905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8">
              <a:extLst>
                <a:ext uri="{FF2B5EF4-FFF2-40B4-BE49-F238E27FC236}">
                  <a16:creationId xmlns:a16="http://schemas.microsoft.com/office/drawing/2014/main" id="{89213C3E-9600-45BF-B9B9-4F8F045325A5}"/>
                </a:ext>
              </a:extLst>
            </p:cNvPr>
            <p:cNvSpPr/>
            <p:nvPr/>
          </p:nvSpPr>
          <p:spPr>
            <a:xfrm>
              <a:off x="6311478" y="878988"/>
              <a:ext cx="190500" cy="190500"/>
            </a:xfrm>
            <a:prstGeom prst="ellipse">
              <a:avLst/>
            </a:prstGeom>
            <a:solidFill>
              <a:srgbClr val="F723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9">
              <a:extLst>
                <a:ext uri="{FF2B5EF4-FFF2-40B4-BE49-F238E27FC236}">
                  <a16:creationId xmlns:a16="http://schemas.microsoft.com/office/drawing/2014/main" id="{7984E0C4-1015-4444-9612-E9013FE65B8A}"/>
                </a:ext>
              </a:extLst>
            </p:cNvPr>
            <p:cNvSpPr/>
            <p:nvPr/>
          </p:nvSpPr>
          <p:spPr>
            <a:xfrm>
              <a:off x="6622745" y="878988"/>
              <a:ext cx="190500" cy="1905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9">
              <a:extLst>
                <a:ext uri="{FF2B5EF4-FFF2-40B4-BE49-F238E27FC236}">
                  <a16:creationId xmlns:a16="http://schemas.microsoft.com/office/drawing/2014/main" id="{98239B62-49D4-43F7-941A-55BCEA129781}"/>
                </a:ext>
              </a:extLst>
            </p:cNvPr>
            <p:cNvSpPr/>
            <p:nvPr/>
          </p:nvSpPr>
          <p:spPr>
            <a:xfrm>
              <a:off x="6930865" y="878988"/>
              <a:ext cx="190500" cy="190500"/>
            </a:xfrm>
            <a:prstGeom prst="ellipse">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3" name="CALMS">
            <a:extLst>
              <a:ext uri="{FF2B5EF4-FFF2-40B4-BE49-F238E27FC236}">
                <a16:creationId xmlns:a16="http://schemas.microsoft.com/office/drawing/2014/main" id="{753F36A7-CE75-4A5D-8BAE-8679B764F925}"/>
              </a:ext>
            </a:extLst>
          </p:cNvPr>
          <p:cNvSpPr txBox="1"/>
          <p:nvPr/>
        </p:nvSpPr>
        <p:spPr>
          <a:xfrm>
            <a:off x="-358524" y="133445"/>
            <a:ext cx="12191999" cy="707886"/>
          </a:xfrm>
          <a:prstGeom prst="rect">
            <a:avLst/>
          </a:prstGeom>
          <a:noFill/>
          <a:ln>
            <a:noFill/>
          </a:ln>
        </p:spPr>
        <p:txBody>
          <a:bodyPr wrap="square" rtlCol="0">
            <a:spAutoFit/>
          </a:bodyPr>
          <a:lstStyle/>
          <a:p>
            <a:pPr algn="ctr"/>
            <a:r>
              <a:rPr lang="en-US" sz="4000" dirty="0">
                <a:solidFill>
                  <a:schemeClr val="bg1">
                    <a:lumMod val="65000"/>
                  </a:schemeClr>
                </a:solidFill>
                <a:latin typeface="Tw Cen MT" panose="020B0602020104020603" pitchFamily="34" charset="0"/>
              </a:rPr>
              <a:t>C o n t e x t e</a:t>
            </a:r>
          </a:p>
        </p:txBody>
      </p:sp>
    </p:spTree>
    <p:extLst>
      <p:ext uri="{BB962C8B-B14F-4D97-AF65-F5344CB8AC3E}">
        <p14:creationId xmlns:p14="http://schemas.microsoft.com/office/powerpoint/2010/main" val="3418487071"/>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p:cTn id="7" dur="500" fill="hold"/>
                                        <p:tgtEl>
                                          <p:spTgt spid="59"/>
                                        </p:tgtEl>
                                        <p:attrNameLst>
                                          <p:attrName>ppt_w</p:attrName>
                                        </p:attrNameLst>
                                      </p:cBhvr>
                                      <p:tavLst>
                                        <p:tav tm="0">
                                          <p:val>
                                            <p:fltVal val="0"/>
                                          </p:val>
                                        </p:tav>
                                        <p:tav tm="100000">
                                          <p:val>
                                            <p:strVal val="#ppt_w"/>
                                          </p:val>
                                        </p:tav>
                                      </p:tavLst>
                                    </p:anim>
                                    <p:anim calcmode="lin" valueType="num">
                                      <p:cBhvr>
                                        <p:cTn id="8" dur="500" fill="hold"/>
                                        <p:tgtEl>
                                          <p:spTgt spid="59"/>
                                        </p:tgtEl>
                                        <p:attrNameLst>
                                          <p:attrName>ppt_h</p:attrName>
                                        </p:attrNameLst>
                                      </p:cBhvr>
                                      <p:tavLst>
                                        <p:tav tm="0">
                                          <p:val>
                                            <p:fltVal val="0"/>
                                          </p:val>
                                        </p:tav>
                                        <p:tav tm="100000">
                                          <p:val>
                                            <p:strVal val="#ppt_h"/>
                                          </p:val>
                                        </p:tav>
                                      </p:tavLst>
                                    </p:anim>
                                    <p:animEffect transition="in" filter="fade">
                                      <p:cBhvr>
                                        <p:cTn id="9" dur="500"/>
                                        <p:tgtEl>
                                          <p:spTgt spid="59"/>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60"/>
                                        </p:tgtEl>
                                        <p:attrNameLst>
                                          <p:attrName>style.visibility</p:attrName>
                                        </p:attrNameLst>
                                      </p:cBhvr>
                                      <p:to>
                                        <p:strVal val="visible"/>
                                      </p:to>
                                    </p:set>
                                    <p:anim calcmode="lin" valueType="num">
                                      <p:cBhvr>
                                        <p:cTn id="14" dur="500" fill="hold"/>
                                        <p:tgtEl>
                                          <p:spTgt spid="60"/>
                                        </p:tgtEl>
                                        <p:attrNameLst>
                                          <p:attrName>ppt_w</p:attrName>
                                        </p:attrNameLst>
                                      </p:cBhvr>
                                      <p:tavLst>
                                        <p:tav tm="0">
                                          <p:val>
                                            <p:fltVal val="0"/>
                                          </p:val>
                                        </p:tav>
                                        <p:tav tm="100000">
                                          <p:val>
                                            <p:strVal val="#ppt_w"/>
                                          </p:val>
                                        </p:tav>
                                      </p:tavLst>
                                    </p:anim>
                                    <p:anim calcmode="lin" valueType="num">
                                      <p:cBhvr>
                                        <p:cTn id="15" dur="500" fill="hold"/>
                                        <p:tgtEl>
                                          <p:spTgt spid="60"/>
                                        </p:tgtEl>
                                        <p:attrNameLst>
                                          <p:attrName>ppt_h</p:attrName>
                                        </p:attrNameLst>
                                      </p:cBhvr>
                                      <p:tavLst>
                                        <p:tav tm="0">
                                          <p:val>
                                            <p:fltVal val="0"/>
                                          </p:val>
                                        </p:tav>
                                        <p:tav tm="100000">
                                          <p:val>
                                            <p:strVal val="#ppt_h"/>
                                          </p:val>
                                        </p:tav>
                                      </p:tavLst>
                                    </p:anim>
                                    <p:animEffect transition="in" filter="fade">
                                      <p:cBhvr>
                                        <p:cTn id="16" dur="500"/>
                                        <p:tgtEl>
                                          <p:spTgt spid="60"/>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61"/>
                                        </p:tgtEl>
                                        <p:attrNameLst>
                                          <p:attrName>style.visibility</p:attrName>
                                        </p:attrNameLst>
                                      </p:cBhvr>
                                      <p:to>
                                        <p:strVal val="visible"/>
                                      </p:to>
                                    </p:set>
                                    <p:anim calcmode="lin" valueType="num">
                                      <p:cBhvr>
                                        <p:cTn id="21" dur="500" fill="hold"/>
                                        <p:tgtEl>
                                          <p:spTgt spid="61"/>
                                        </p:tgtEl>
                                        <p:attrNameLst>
                                          <p:attrName>ppt_w</p:attrName>
                                        </p:attrNameLst>
                                      </p:cBhvr>
                                      <p:tavLst>
                                        <p:tav tm="0">
                                          <p:val>
                                            <p:fltVal val="0"/>
                                          </p:val>
                                        </p:tav>
                                        <p:tav tm="100000">
                                          <p:val>
                                            <p:strVal val="#ppt_w"/>
                                          </p:val>
                                        </p:tav>
                                      </p:tavLst>
                                    </p:anim>
                                    <p:anim calcmode="lin" valueType="num">
                                      <p:cBhvr>
                                        <p:cTn id="22" dur="500" fill="hold"/>
                                        <p:tgtEl>
                                          <p:spTgt spid="61"/>
                                        </p:tgtEl>
                                        <p:attrNameLst>
                                          <p:attrName>ppt_h</p:attrName>
                                        </p:attrNameLst>
                                      </p:cBhvr>
                                      <p:tavLst>
                                        <p:tav tm="0">
                                          <p:val>
                                            <p:fltVal val="0"/>
                                          </p:val>
                                        </p:tav>
                                        <p:tav tm="100000">
                                          <p:val>
                                            <p:strVal val="#ppt_h"/>
                                          </p:val>
                                        </p:tav>
                                      </p:tavLst>
                                    </p:anim>
                                    <p:animEffect transition="in" filter="fade">
                                      <p:cBhvr>
                                        <p:cTn id="23" dur="500"/>
                                        <p:tgtEl>
                                          <p:spTgt spid="61"/>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63"/>
                                        </p:tgtEl>
                                        <p:attrNameLst>
                                          <p:attrName>style.visibility</p:attrName>
                                        </p:attrNameLst>
                                      </p:cBhvr>
                                      <p:to>
                                        <p:strVal val="visible"/>
                                      </p:to>
                                    </p:set>
                                    <p:anim calcmode="lin" valueType="num">
                                      <p:cBhvr>
                                        <p:cTn id="28" dur="500" fill="hold"/>
                                        <p:tgtEl>
                                          <p:spTgt spid="63"/>
                                        </p:tgtEl>
                                        <p:attrNameLst>
                                          <p:attrName>ppt_w</p:attrName>
                                        </p:attrNameLst>
                                      </p:cBhvr>
                                      <p:tavLst>
                                        <p:tav tm="0">
                                          <p:val>
                                            <p:fltVal val="0"/>
                                          </p:val>
                                        </p:tav>
                                        <p:tav tm="100000">
                                          <p:val>
                                            <p:strVal val="#ppt_w"/>
                                          </p:val>
                                        </p:tav>
                                      </p:tavLst>
                                    </p:anim>
                                    <p:anim calcmode="lin" valueType="num">
                                      <p:cBhvr>
                                        <p:cTn id="29" dur="500" fill="hold"/>
                                        <p:tgtEl>
                                          <p:spTgt spid="63"/>
                                        </p:tgtEl>
                                        <p:attrNameLst>
                                          <p:attrName>ppt_h</p:attrName>
                                        </p:attrNameLst>
                                      </p:cBhvr>
                                      <p:tavLst>
                                        <p:tav tm="0">
                                          <p:val>
                                            <p:fltVal val="0"/>
                                          </p:val>
                                        </p:tav>
                                        <p:tav tm="100000">
                                          <p:val>
                                            <p:strVal val="#ppt_h"/>
                                          </p:val>
                                        </p:tav>
                                      </p:tavLst>
                                    </p:anim>
                                    <p:animEffect transition="in" filter="fade">
                                      <p:cBhvr>
                                        <p:cTn id="30" dur="500"/>
                                        <p:tgtEl>
                                          <p:spTgt spid="63"/>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59"/>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60"/>
                                        </p:tgtEl>
                                        <p:attrNameLst>
                                          <p:attrName>style.visibility</p:attrName>
                                        </p:attrNameLst>
                                      </p:cBhvr>
                                      <p:to>
                                        <p:strVal val="hidden"/>
                                      </p:to>
                                    </p:set>
                                  </p:childTnLst>
                                </p:cTn>
                              </p:par>
                              <p:par>
                                <p:cTn id="37" presetID="1" presetClass="exit" presetSubtype="0" fill="hold" nodeType="withEffect">
                                  <p:stCondLst>
                                    <p:cond delay="0"/>
                                  </p:stCondLst>
                                  <p:childTnLst>
                                    <p:set>
                                      <p:cBhvr>
                                        <p:cTn id="38" dur="1" fill="hold">
                                          <p:stCondLst>
                                            <p:cond delay="0"/>
                                          </p:stCondLst>
                                        </p:cTn>
                                        <p:tgtEl>
                                          <p:spTgt spid="61"/>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35" presetClass="path" presetSubtype="0" accel="50000" decel="50000" fill="hold" nodeType="clickEffect">
                                  <p:stCondLst>
                                    <p:cond delay="0"/>
                                  </p:stCondLst>
                                  <p:childTnLst>
                                    <p:animMotion origin="layout" path="M -4.16667E-6 3.7037E-6 L -0.50937 -0.00024 " pathEditMode="relative" rAng="0" ptsTypes="AA">
                                      <p:cBhvr>
                                        <p:cTn id="42" dur="400" fill="hold"/>
                                        <p:tgtEl>
                                          <p:spTgt spid="63"/>
                                        </p:tgtEl>
                                        <p:attrNameLst>
                                          <p:attrName>ppt_x</p:attrName>
                                          <p:attrName>ppt_y</p:attrName>
                                        </p:attrNameLst>
                                      </p:cBhvr>
                                      <p:rCtr x="-25469" y="-23"/>
                                    </p:animMotion>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67"/>
                                        </p:tgtEl>
                                        <p:attrNameLst>
                                          <p:attrName>style.visibility</p:attrName>
                                        </p:attrNameLst>
                                      </p:cBhvr>
                                      <p:to>
                                        <p:strVal val="visible"/>
                                      </p:to>
                                    </p:set>
                                    <p:animEffect transition="in" filter="wipe(down)">
                                      <p:cBhvr>
                                        <p:cTn id="47" dur="500"/>
                                        <p:tgtEl>
                                          <p:spTgt spid="67"/>
                                        </p:tgtEl>
                                      </p:cBhvr>
                                    </p:animEffect>
                                  </p:childTnLst>
                                </p:cTn>
                              </p:par>
                            </p:childTnLst>
                          </p:cTn>
                        </p:par>
                      </p:childTnLst>
                    </p:cTn>
                  </p:par>
                  <p:par>
                    <p:cTn id="48" fill="hold">
                      <p:stCondLst>
                        <p:cond delay="indefinite"/>
                      </p:stCondLst>
                      <p:childTnLst>
                        <p:par>
                          <p:cTn id="49" fill="hold">
                            <p:stCondLst>
                              <p:cond delay="0"/>
                            </p:stCondLst>
                            <p:childTnLst>
                              <p:par>
                                <p:cTn id="50" presetID="16" presetClass="entr" presetSubtype="21" fill="hold" grpId="0" nodeType="clickEffect">
                                  <p:stCondLst>
                                    <p:cond delay="0"/>
                                  </p:stCondLst>
                                  <p:childTnLst>
                                    <p:set>
                                      <p:cBhvr>
                                        <p:cTn id="51" dur="1" fill="hold">
                                          <p:stCondLst>
                                            <p:cond delay="0"/>
                                          </p:stCondLst>
                                        </p:cTn>
                                        <p:tgtEl>
                                          <p:spTgt spid="64"/>
                                        </p:tgtEl>
                                        <p:attrNameLst>
                                          <p:attrName>style.visibility</p:attrName>
                                        </p:attrNameLst>
                                      </p:cBhvr>
                                      <p:to>
                                        <p:strVal val="visible"/>
                                      </p:to>
                                    </p:set>
                                    <p:animEffect transition="in" filter="barn(inVertical)">
                                      <p:cBhvr>
                                        <p:cTn id="52" dur="500"/>
                                        <p:tgtEl>
                                          <p:spTgt spid="64"/>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nodeType="clickEffect">
                                  <p:stCondLst>
                                    <p:cond delay="0"/>
                                  </p:stCondLst>
                                  <p:childTnLst>
                                    <p:set>
                                      <p:cBhvr>
                                        <p:cTn id="56" dur="1" fill="hold">
                                          <p:stCondLst>
                                            <p:cond delay="0"/>
                                          </p:stCondLst>
                                        </p:cTn>
                                        <p:tgtEl>
                                          <p:spTgt spid="68"/>
                                        </p:tgtEl>
                                        <p:attrNameLst>
                                          <p:attrName>style.visibility</p:attrName>
                                        </p:attrNameLst>
                                      </p:cBhvr>
                                      <p:to>
                                        <p:strVal val="visible"/>
                                      </p:to>
                                    </p:set>
                                    <p:animEffect transition="in" filter="wipe(down)">
                                      <p:cBhvr>
                                        <p:cTn id="57" dur="500"/>
                                        <p:tgtEl>
                                          <p:spTgt spid="68"/>
                                        </p:tgtEl>
                                      </p:cBhvr>
                                    </p:animEffect>
                                  </p:childTnLst>
                                </p:cTn>
                              </p:par>
                            </p:childTnLst>
                          </p:cTn>
                        </p:par>
                      </p:childTnLst>
                    </p:cTn>
                  </p:par>
                  <p:par>
                    <p:cTn id="58" fill="hold">
                      <p:stCondLst>
                        <p:cond delay="indefinite"/>
                      </p:stCondLst>
                      <p:childTnLst>
                        <p:par>
                          <p:cTn id="59" fill="hold">
                            <p:stCondLst>
                              <p:cond delay="0"/>
                            </p:stCondLst>
                            <p:childTnLst>
                              <p:par>
                                <p:cTn id="60" presetID="16" presetClass="entr" presetSubtype="21" fill="hold" grpId="0" nodeType="clickEffect">
                                  <p:stCondLst>
                                    <p:cond delay="0"/>
                                  </p:stCondLst>
                                  <p:childTnLst>
                                    <p:set>
                                      <p:cBhvr>
                                        <p:cTn id="61" dur="1" fill="hold">
                                          <p:stCondLst>
                                            <p:cond delay="0"/>
                                          </p:stCondLst>
                                        </p:cTn>
                                        <p:tgtEl>
                                          <p:spTgt spid="65"/>
                                        </p:tgtEl>
                                        <p:attrNameLst>
                                          <p:attrName>style.visibility</p:attrName>
                                        </p:attrNameLst>
                                      </p:cBhvr>
                                      <p:to>
                                        <p:strVal val="visible"/>
                                      </p:to>
                                    </p:set>
                                    <p:animEffect transition="in" filter="barn(inVertical)">
                                      <p:cBhvr>
                                        <p:cTn id="62" dur="500"/>
                                        <p:tgtEl>
                                          <p:spTgt spid="65"/>
                                        </p:tgtEl>
                                      </p:cBhvr>
                                    </p:animEffect>
                                  </p:childTnLst>
                                </p:cTn>
                              </p:par>
                            </p:childTnLst>
                          </p:cTn>
                        </p:par>
                      </p:childTnLst>
                    </p:cTn>
                  </p:par>
                  <p:par>
                    <p:cTn id="63" fill="hold">
                      <p:stCondLst>
                        <p:cond delay="indefinite"/>
                      </p:stCondLst>
                      <p:childTnLst>
                        <p:par>
                          <p:cTn id="64" fill="hold">
                            <p:stCondLst>
                              <p:cond delay="0"/>
                            </p:stCondLst>
                            <p:childTnLst>
                              <p:par>
                                <p:cTn id="65" presetID="1" presetClass="exit" presetSubtype="0" fill="hold" nodeType="clickEffect">
                                  <p:stCondLst>
                                    <p:cond delay="0"/>
                                  </p:stCondLst>
                                  <p:childTnLst>
                                    <p:set>
                                      <p:cBhvr>
                                        <p:cTn id="66" dur="1" fill="hold">
                                          <p:stCondLst>
                                            <p:cond delay="0"/>
                                          </p:stCondLst>
                                        </p:cTn>
                                        <p:tgtEl>
                                          <p:spTgt spid="63"/>
                                        </p:tgtEl>
                                        <p:attrNameLst>
                                          <p:attrName>style.visibility</p:attrName>
                                        </p:attrNameLst>
                                      </p:cBhvr>
                                      <p:to>
                                        <p:strVal val="hidden"/>
                                      </p:to>
                                    </p:set>
                                  </p:childTnLst>
                                </p:cTn>
                              </p:par>
                            </p:childTnLst>
                          </p:cTn>
                        </p:par>
                      </p:childTnLst>
                    </p:cTn>
                  </p:par>
                  <p:par>
                    <p:cTn id="67" fill="hold">
                      <p:stCondLst>
                        <p:cond delay="indefinite"/>
                      </p:stCondLst>
                      <p:childTnLst>
                        <p:par>
                          <p:cTn id="68" fill="hold">
                            <p:stCondLst>
                              <p:cond delay="0"/>
                            </p:stCondLst>
                            <p:childTnLst>
                              <p:par>
                                <p:cTn id="69" presetID="35" presetClass="path" presetSubtype="0" accel="50000" decel="50000" fill="hold" nodeType="clickEffect">
                                  <p:stCondLst>
                                    <p:cond delay="0"/>
                                  </p:stCondLst>
                                  <p:childTnLst>
                                    <p:animMotion origin="layout" path="M 0 0 L -0.25 0 E" pathEditMode="relative" ptsTypes="">
                                      <p:cBhvr>
                                        <p:cTn id="70" dur="600" fill="hold"/>
                                        <p:tgtEl>
                                          <p:spTgt spid="67"/>
                                        </p:tgtEl>
                                        <p:attrNameLst>
                                          <p:attrName>ppt_x</p:attrName>
                                          <p:attrName>ppt_y</p:attrName>
                                        </p:attrNameLst>
                                      </p:cBhvr>
                                    </p:animMotion>
                                  </p:childTnLst>
                                </p:cTn>
                              </p:par>
                              <p:par>
                                <p:cTn id="71" presetID="35" presetClass="path" presetSubtype="0" accel="50000" decel="50000" fill="hold" grpId="1" nodeType="withEffect">
                                  <p:stCondLst>
                                    <p:cond delay="0"/>
                                  </p:stCondLst>
                                  <p:childTnLst>
                                    <p:animMotion origin="layout" path="M 0 0 L -0.25 0 E" pathEditMode="relative" ptsTypes="">
                                      <p:cBhvr>
                                        <p:cTn id="72" dur="600" fill="hold"/>
                                        <p:tgtEl>
                                          <p:spTgt spid="64"/>
                                        </p:tgtEl>
                                        <p:attrNameLst>
                                          <p:attrName>ppt_x</p:attrName>
                                          <p:attrName>ppt_y</p:attrName>
                                        </p:attrNameLst>
                                      </p:cBhvr>
                                    </p:animMotion>
                                  </p:childTnLst>
                                </p:cTn>
                              </p:par>
                              <p:par>
                                <p:cTn id="73" presetID="35" presetClass="path" presetSubtype="0" accel="50000" decel="50000" fill="hold" nodeType="withEffect">
                                  <p:stCondLst>
                                    <p:cond delay="0"/>
                                  </p:stCondLst>
                                  <p:childTnLst>
                                    <p:animMotion origin="layout" path="M 0 0 L -0.25 0 E" pathEditMode="relative" ptsTypes="">
                                      <p:cBhvr>
                                        <p:cTn id="74" dur="600" fill="hold"/>
                                        <p:tgtEl>
                                          <p:spTgt spid="68"/>
                                        </p:tgtEl>
                                        <p:attrNameLst>
                                          <p:attrName>ppt_x</p:attrName>
                                          <p:attrName>ppt_y</p:attrName>
                                        </p:attrNameLst>
                                      </p:cBhvr>
                                    </p:animMotion>
                                  </p:childTnLst>
                                </p:cTn>
                              </p:par>
                              <p:par>
                                <p:cTn id="75" presetID="35" presetClass="path" presetSubtype="0" accel="50000" decel="50000" fill="hold" grpId="1" nodeType="withEffect">
                                  <p:stCondLst>
                                    <p:cond delay="0"/>
                                  </p:stCondLst>
                                  <p:childTnLst>
                                    <p:animMotion origin="layout" path="M 0 0 L -0.25 0 E" pathEditMode="relative" ptsTypes="">
                                      <p:cBhvr>
                                        <p:cTn id="76" dur="600" fill="hold"/>
                                        <p:tgtEl>
                                          <p:spTgt spid="65"/>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4" grpId="1"/>
      <p:bldP spid="65" grpId="0"/>
      <p:bldP spid="65" grpId="1"/>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0" name="Groupe 49">
            <a:extLst>
              <a:ext uri="{FF2B5EF4-FFF2-40B4-BE49-F238E27FC236}">
                <a16:creationId xmlns:a16="http://schemas.microsoft.com/office/drawing/2014/main" id="{9ADBB43C-1C5B-49B4-B919-00F72BA232A0}"/>
              </a:ext>
            </a:extLst>
          </p:cNvPr>
          <p:cNvGrpSpPr/>
          <p:nvPr/>
        </p:nvGrpSpPr>
        <p:grpSpPr>
          <a:xfrm>
            <a:off x="8832304" y="2317522"/>
            <a:ext cx="1944217" cy="2137094"/>
            <a:chOff x="8832304" y="2317522"/>
            <a:chExt cx="1944217" cy="2137094"/>
          </a:xfrm>
        </p:grpSpPr>
        <p:sp>
          <p:nvSpPr>
            <p:cNvPr id="10" name="Title 3">
              <a:extLst>
                <a:ext uri="{FF2B5EF4-FFF2-40B4-BE49-F238E27FC236}">
                  <a16:creationId xmlns:a16="http://schemas.microsoft.com/office/drawing/2014/main" id="{4067D0EF-5495-4B4D-AB62-43966755FA14}"/>
                </a:ext>
              </a:extLst>
            </p:cNvPr>
            <p:cNvSpPr txBox="1">
              <a:spLocks/>
            </p:cNvSpPr>
            <p:nvPr/>
          </p:nvSpPr>
          <p:spPr>
            <a:xfrm>
              <a:off x="8832304" y="2317522"/>
              <a:ext cx="1944217" cy="1403091"/>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gn="ctr"/>
              <a:r>
                <a:rPr lang="fr-FR" sz="1800"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ea typeface="+mn-ea"/>
                  <a:cs typeface="+mn-cs"/>
                </a:rPr>
                <a:t>L’intégration et  « digital networking » de procédés </a:t>
              </a:r>
              <a:endParaRPr lang="en-GB" sz="1800"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ea typeface="+mn-ea"/>
                <a:cs typeface="+mn-cs"/>
              </a:endParaRPr>
            </a:p>
          </p:txBody>
        </p:sp>
        <p:grpSp>
          <p:nvGrpSpPr>
            <p:cNvPr id="11" name="Group 567">
              <a:extLst>
                <a:ext uri="{FF2B5EF4-FFF2-40B4-BE49-F238E27FC236}">
                  <a16:creationId xmlns:a16="http://schemas.microsoft.com/office/drawing/2014/main" id="{01D5E6D3-FCF9-4C0C-AB51-5671769D8F51}"/>
                </a:ext>
              </a:extLst>
            </p:cNvPr>
            <p:cNvGrpSpPr/>
            <p:nvPr/>
          </p:nvGrpSpPr>
          <p:grpSpPr>
            <a:xfrm>
              <a:off x="9385460" y="3429001"/>
              <a:ext cx="1082539" cy="1025615"/>
              <a:chOff x="1569243" y="3406858"/>
              <a:chExt cx="796925" cy="746125"/>
            </a:xfrm>
          </p:grpSpPr>
          <p:sp>
            <p:nvSpPr>
              <p:cNvPr id="12" name="Freeform 89">
                <a:extLst>
                  <a:ext uri="{FF2B5EF4-FFF2-40B4-BE49-F238E27FC236}">
                    <a16:creationId xmlns:a16="http://schemas.microsoft.com/office/drawing/2014/main" id="{3E5E6FD7-E857-4542-8338-F9645AA2CCF3}"/>
                  </a:ext>
                </a:extLst>
              </p:cNvPr>
              <p:cNvSpPr>
                <a:spLocks/>
              </p:cNvSpPr>
              <p:nvPr/>
            </p:nvSpPr>
            <p:spPr bwMode="auto">
              <a:xfrm>
                <a:off x="1569243" y="3406858"/>
                <a:ext cx="796925" cy="746125"/>
              </a:xfrm>
              <a:custGeom>
                <a:avLst/>
                <a:gdLst>
                  <a:gd name="T0" fmla="*/ 23 w 414"/>
                  <a:gd name="T1" fmla="*/ 234 h 385"/>
                  <a:gd name="T2" fmla="*/ 165 w 414"/>
                  <a:gd name="T3" fmla="*/ 20 h 385"/>
                  <a:gd name="T4" fmla="*/ 391 w 414"/>
                  <a:gd name="T5" fmla="*/ 163 h 385"/>
                  <a:gd name="T6" fmla="*/ 247 w 414"/>
                  <a:gd name="T7" fmla="*/ 365 h 385"/>
                  <a:gd name="T8" fmla="*/ 23 w 414"/>
                  <a:gd name="T9" fmla="*/ 234 h 385"/>
                </a:gdLst>
                <a:ahLst/>
                <a:cxnLst>
                  <a:cxn ang="0">
                    <a:pos x="T0" y="T1"/>
                  </a:cxn>
                  <a:cxn ang="0">
                    <a:pos x="T2" y="T3"/>
                  </a:cxn>
                  <a:cxn ang="0">
                    <a:pos x="T4" y="T5"/>
                  </a:cxn>
                  <a:cxn ang="0">
                    <a:pos x="T6" y="T7"/>
                  </a:cxn>
                  <a:cxn ang="0">
                    <a:pos x="T8" y="T9"/>
                  </a:cxn>
                </a:cxnLst>
                <a:rect l="0" t="0" r="r" b="b"/>
                <a:pathLst>
                  <a:path w="414" h="385">
                    <a:moveTo>
                      <a:pt x="23" y="234"/>
                    </a:moveTo>
                    <a:cubicBezTo>
                      <a:pt x="0" y="136"/>
                      <a:pt x="64" y="40"/>
                      <a:pt x="165" y="20"/>
                    </a:cubicBezTo>
                    <a:cubicBezTo>
                      <a:pt x="267" y="0"/>
                      <a:pt x="368" y="64"/>
                      <a:pt x="391" y="163"/>
                    </a:cubicBezTo>
                    <a:cubicBezTo>
                      <a:pt x="414" y="261"/>
                      <a:pt x="349" y="346"/>
                      <a:pt x="247" y="365"/>
                    </a:cubicBezTo>
                    <a:cubicBezTo>
                      <a:pt x="145" y="385"/>
                      <a:pt x="47" y="333"/>
                      <a:pt x="23" y="234"/>
                    </a:cubicBezTo>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90">
                <a:extLst>
                  <a:ext uri="{FF2B5EF4-FFF2-40B4-BE49-F238E27FC236}">
                    <a16:creationId xmlns:a16="http://schemas.microsoft.com/office/drawing/2014/main" id="{D4E58EB5-CAD1-4D15-95EC-205508B87416}"/>
                  </a:ext>
                </a:extLst>
              </p:cNvPr>
              <p:cNvSpPr>
                <a:spLocks/>
              </p:cNvSpPr>
              <p:nvPr/>
            </p:nvSpPr>
            <p:spPr bwMode="auto">
              <a:xfrm>
                <a:off x="1685925" y="3633075"/>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91">
                <a:extLst>
                  <a:ext uri="{FF2B5EF4-FFF2-40B4-BE49-F238E27FC236}">
                    <a16:creationId xmlns:a16="http://schemas.microsoft.com/office/drawing/2014/main" id="{6F356CD5-076F-4E5F-B831-8BD3E440A80F}"/>
                  </a:ext>
                </a:extLst>
              </p:cNvPr>
              <p:cNvSpPr>
                <a:spLocks/>
              </p:cNvSpPr>
              <p:nvPr/>
            </p:nvSpPr>
            <p:spPr bwMode="auto">
              <a:xfrm>
                <a:off x="1638299" y="3768012"/>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92">
                <a:extLst>
                  <a:ext uri="{FF2B5EF4-FFF2-40B4-BE49-F238E27FC236}">
                    <a16:creationId xmlns:a16="http://schemas.microsoft.com/office/drawing/2014/main" id="{AF2C3DB4-3115-4AD0-9F6F-DC03F7141DA3}"/>
                  </a:ext>
                </a:extLst>
              </p:cNvPr>
              <p:cNvSpPr>
                <a:spLocks/>
              </p:cNvSpPr>
              <p:nvPr/>
            </p:nvSpPr>
            <p:spPr bwMode="auto">
              <a:xfrm>
                <a:off x="2063749" y="3672762"/>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93">
                <a:extLst>
                  <a:ext uri="{FF2B5EF4-FFF2-40B4-BE49-F238E27FC236}">
                    <a16:creationId xmlns:a16="http://schemas.microsoft.com/office/drawing/2014/main" id="{79E4D5CE-B1F8-4C2D-B82C-0EE290DBFF1A}"/>
                  </a:ext>
                </a:extLst>
              </p:cNvPr>
              <p:cNvSpPr>
                <a:spLocks/>
              </p:cNvSpPr>
              <p:nvPr/>
            </p:nvSpPr>
            <p:spPr bwMode="auto">
              <a:xfrm>
                <a:off x="2017713" y="3802937"/>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94">
                <a:extLst>
                  <a:ext uri="{FF2B5EF4-FFF2-40B4-BE49-F238E27FC236}">
                    <a16:creationId xmlns:a16="http://schemas.microsoft.com/office/drawing/2014/main" id="{A41A1874-A562-45E5-A4FE-189E44C4A3D7}"/>
                  </a:ext>
                </a:extLst>
              </p:cNvPr>
              <p:cNvSpPr>
                <a:spLocks/>
              </p:cNvSpPr>
              <p:nvPr/>
            </p:nvSpPr>
            <p:spPr bwMode="auto">
              <a:xfrm>
                <a:off x="1858963" y="3633075"/>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5">
                <a:extLst>
                  <a:ext uri="{FF2B5EF4-FFF2-40B4-BE49-F238E27FC236}">
                    <a16:creationId xmlns:a16="http://schemas.microsoft.com/office/drawing/2014/main" id="{AB7814FF-D01E-4A50-9DC1-F972E6145642}"/>
                  </a:ext>
                </a:extLst>
              </p:cNvPr>
              <p:cNvSpPr>
                <a:spLocks/>
              </p:cNvSpPr>
              <p:nvPr/>
            </p:nvSpPr>
            <p:spPr bwMode="auto">
              <a:xfrm>
                <a:off x="1785937" y="3793806"/>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9" name="Groupe 48">
            <a:extLst>
              <a:ext uri="{FF2B5EF4-FFF2-40B4-BE49-F238E27FC236}">
                <a16:creationId xmlns:a16="http://schemas.microsoft.com/office/drawing/2014/main" id="{604F1BCE-5C3F-4B3B-9A97-3F55326C49E6}"/>
              </a:ext>
            </a:extLst>
          </p:cNvPr>
          <p:cNvGrpSpPr/>
          <p:nvPr/>
        </p:nvGrpSpPr>
        <p:grpSpPr>
          <a:xfrm>
            <a:off x="7155688" y="2558966"/>
            <a:ext cx="1385316" cy="1921358"/>
            <a:chOff x="6588383" y="3013768"/>
            <a:chExt cx="1385316" cy="1921358"/>
          </a:xfrm>
        </p:grpSpPr>
        <p:sp>
          <p:nvSpPr>
            <p:cNvPr id="6" name="Rectangle 5">
              <a:extLst>
                <a:ext uri="{FF2B5EF4-FFF2-40B4-BE49-F238E27FC236}">
                  <a16:creationId xmlns:a16="http://schemas.microsoft.com/office/drawing/2014/main" id="{56D63219-D6EC-47ED-AE32-2705AEA82762}"/>
                </a:ext>
              </a:extLst>
            </p:cNvPr>
            <p:cNvSpPr/>
            <p:nvPr/>
          </p:nvSpPr>
          <p:spPr>
            <a:xfrm>
              <a:off x="6588383" y="3013768"/>
              <a:ext cx="1385316" cy="369332"/>
            </a:xfrm>
            <a:prstGeom prst="rect">
              <a:avLst/>
            </a:prstGeom>
          </p:spPr>
          <p:txBody>
            <a:bodyPr wrap="none">
              <a:spAutoFit/>
            </a:bodyPr>
            <a:lstStyle/>
            <a:p>
              <a:r>
                <a:rPr lang="fr-FR"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Customisation</a:t>
              </a:r>
              <a:endParaRPr lang="en-GB"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endParaRPr>
            </a:p>
          </p:txBody>
        </p:sp>
        <p:grpSp>
          <p:nvGrpSpPr>
            <p:cNvPr id="29" name="Groupe 28">
              <a:extLst>
                <a:ext uri="{FF2B5EF4-FFF2-40B4-BE49-F238E27FC236}">
                  <a16:creationId xmlns:a16="http://schemas.microsoft.com/office/drawing/2014/main" id="{F15DF32D-D292-43DB-BDAA-D948CF6EAD5D}"/>
                </a:ext>
              </a:extLst>
            </p:cNvPr>
            <p:cNvGrpSpPr>
              <a:grpSpLocks noChangeAspect="1"/>
            </p:cNvGrpSpPr>
            <p:nvPr/>
          </p:nvGrpSpPr>
          <p:grpSpPr>
            <a:xfrm>
              <a:off x="6649739" y="3851672"/>
              <a:ext cx="1149651" cy="1083454"/>
              <a:chOff x="2115476" y="2239862"/>
              <a:chExt cx="912796" cy="860237"/>
            </a:xfrm>
          </p:grpSpPr>
          <p:sp>
            <p:nvSpPr>
              <p:cNvPr id="30" name="Freeform 217">
                <a:extLst>
                  <a:ext uri="{FF2B5EF4-FFF2-40B4-BE49-F238E27FC236}">
                    <a16:creationId xmlns:a16="http://schemas.microsoft.com/office/drawing/2014/main" id="{FCF0FFC7-B56C-4DF9-9956-069AD13B2172}"/>
                  </a:ext>
                </a:extLst>
              </p:cNvPr>
              <p:cNvSpPr>
                <a:spLocks noChangeAspect="1"/>
              </p:cNvSpPr>
              <p:nvPr/>
            </p:nvSpPr>
            <p:spPr bwMode="auto">
              <a:xfrm>
                <a:off x="2115476" y="2239862"/>
                <a:ext cx="912796" cy="860237"/>
              </a:xfrm>
              <a:custGeom>
                <a:avLst/>
                <a:gdLst>
                  <a:gd name="T0" fmla="*/ 62 w 430"/>
                  <a:gd name="T1" fmla="*/ 315 h 402"/>
                  <a:gd name="T2" fmla="*/ 103 w 430"/>
                  <a:gd name="T3" fmla="*/ 60 h 402"/>
                  <a:gd name="T4" fmla="*/ 368 w 430"/>
                  <a:gd name="T5" fmla="*/ 98 h 402"/>
                  <a:gd name="T6" fmla="*/ 320 w 430"/>
                  <a:gd name="T7" fmla="*/ 342 h 402"/>
                  <a:gd name="T8" fmla="*/ 62 w 430"/>
                  <a:gd name="T9" fmla="*/ 315 h 402"/>
                </a:gdLst>
                <a:ahLst/>
                <a:cxnLst>
                  <a:cxn ang="0">
                    <a:pos x="T0" y="T1"/>
                  </a:cxn>
                  <a:cxn ang="0">
                    <a:pos x="T2" y="T3"/>
                  </a:cxn>
                  <a:cxn ang="0">
                    <a:pos x="T4" y="T5"/>
                  </a:cxn>
                  <a:cxn ang="0">
                    <a:pos x="T6" y="T7"/>
                  </a:cxn>
                  <a:cxn ang="0">
                    <a:pos x="T8" y="T9"/>
                  </a:cxn>
                </a:cxnLst>
                <a:rect l="0" t="0" r="r" b="b"/>
                <a:pathLst>
                  <a:path w="430" h="402">
                    <a:moveTo>
                      <a:pt x="62" y="315"/>
                    </a:moveTo>
                    <a:cubicBezTo>
                      <a:pt x="0" y="234"/>
                      <a:pt x="18" y="120"/>
                      <a:pt x="103" y="60"/>
                    </a:cubicBezTo>
                    <a:cubicBezTo>
                      <a:pt x="188" y="0"/>
                      <a:pt x="306" y="17"/>
                      <a:pt x="368" y="98"/>
                    </a:cubicBezTo>
                    <a:cubicBezTo>
                      <a:pt x="430" y="178"/>
                      <a:pt x="405" y="282"/>
                      <a:pt x="320" y="342"/>
                    </a:cubicBezTo>
                    <a:cubicBezTo>
                      <a:pt x="235" y="402"/>
                      <a:pt x="123" y="395"/>
                      <a:pt x="62" y="315"/>
                    </a:cubicBezTo>
                  </a:path>
                </a:pathLst>
              </a:custGeom>
              <a:solidFill>
                <a:srgbClr val="0070C0"/>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grpSp>
            <p:nvGrpSpPr>
              <p:cNvPr id="31" name="Group 892">
                <a:extLst>
                  <a:ext uri="{FF2B5EF4-FFF2-40B4-BE49-F238E27FC236}">
                    <a16:creationId xmlns:a16="http://schemas.microsoft.com/office/drawing/2014/main" id="{2E238D12-A172-4FF2-8B32-B0967929818F}"/>
                  </a:ext>
                </a:extLst>
              </p:cNvPr>
              <p:cNvGrpSpPr/>
              <p:nvPr/>
            </p:nvGrpSpPr>
            <p:grpSpPr>
              <a:xfrm>
                <a:off x="2302485" y="2436724"/>
                <a:ext cx="448686" cy="445174"/>
                <a:chOff x="11076038" y="4842626"/>
                <a:chExt cx="894239" cy="887242"/>
              </a:xfrm>
              <a:solidFill>
                <a:schemeClr val="bg1"/>
              </a:solidFill>
            </p:grpSpPr>
            <p:sp>
              <p:nvSpPr>
                <p:cNvPr id="32" name="Freeform 34">
                  <a:extLst>
                    <a:ext uri="{FF2B5EF4-FFF2-40B4-BE49-F238E27FC236}">
                      <a16:creationId xmlns:a16="http://schemas.microsoft.com/office/drawing/2014/main" id="{E9BB1591-5122-4F0B-ACC3-61B24633A8AF}"/>
                    </a:ext>
                  </a:extLst>
                </p:cNvPr>
                <p:cNvSpPr>
                  <a:spLocks/>
                </p:cNvSpPr>
                <p:nvPr/>
              </p:nvSpPr>
              <p:spPr bwMode="auto">
                <a:xfrm>
                  <a:off x="11132015" y="5342224"/>
                  <a:ext cx="383445" cy="387644"/>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2FD6D5"/>
                </a:solidFill>
                <a:ln>
                  <a:noFill/>
                </a:ln>
              </p:spPr>
              <p:txBody>
                <a:bodyPr vert="horz" wrap="square" lIns="91440" tIns="45720" rIns="91440" bIns="45720" numCol="1" anchor="t" anchorCtr="0" compatLnSpc="1">
                  <a:prstTxWarp prst="textNoShape">
                    <a:avLst/>
                  </a:prstTxWarp>
                </a:bodyPr>
                <a:lstStyle/>
                <a:p>
                  <a:endParaRPr lang="en-IE"/>
                </a:p>
              </p:txBody>
            </p:sp>
            <p:sp>
              <p:nvSpPr>
                <p:cNvPr id="33" name="Freeform 35">
                  <a:extLst>
                    <a:ext uri="{FF2B5EF4-FFF2-40B4-BE49-F238E27FC236}">
                      <a16:creationId xmlns:a16="http://schemas.microsoft.com/office/drawing/2014/main" id="{36F02365-7810-458B-86FF-8DA829FE7A9E}"/>
                    </a:ext>
                  </a:extLst>
                </p:cNvPr>
                <p:cNvSpPr>
                  <a:spLocks/>
                </p:cNvSpPr>
                <p:nvPr/>
              </p:nvSpPr>
              <p:spPr bwMode="auto">
                <a:xfrm>
                  <a:off x="11348928" y="5115515"/>
                  <a:ext cx="607355" cy="607355"/>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34" name="Freeform 36">
                  <a:extLst>
                    <a:ext uri="{FF2B5EF4-FFF2-40B4-BE49-F238E27FC236}">
                      <a16:creationId xmlns:a16="http://schemas.microsoft.com/office/drawing/2014/main" id="{50C6A7FC-703A-40F0-8B4F-BEF9EF4EDCCC}"/>
                    </a:ext>
                  </a:extLst>
                </p:cNvPr>
                <p:cNvSpPr>
                  <a:spLocks/>
                </p:cNvSpPr>
                <p:nvPr/>
              </p:nvSpPr>
              <p:spPr bwMode="auto">
                <a:xfrm>
                  <a:off x="11575636" y="4883209"/>
                  <a:ext cx="394641" cy="398840"/>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2FD6D5"/>
                </a:solidFill>
                <a:ln>
                  <a:noFill/>
                </a:ln>
              </p:spPr>
              <p:txBody>
                <a:bodyPr vert="horz" wrap="square" lIns="91440" tIns="45720" rIns="91440" bIns="45720" numCol="1" anchor="t" anchorCtr="0" compatLnSpc="1">
                  <a:prstTxWarp prst="textNoShape">
                    <a:avLst/>
                  </a:prstTxWarp>
                </a:bodyPr>
                <a:lstStyle/>
                <a:p>
                  <a:endParaRPr lang="en-IE"/>
                </a:p>
              </p:txBody>
            </p:sp>
            <p:sp>
              <p:nvSpPr>
                <p:cNvPr id="35" name="Freeform 37">
                  <a:extLst>
                    <a:ext uri="{FF2B5EF4-FFF2-40B4-BE49-F238E27FC236}">
                      <a16:creationId xmlns:a16="http://schemas.microsoft.com/office/drawing/2014/main" id="{42F78AE4-FDB3-4185-A584-79E95301F8D5}"/>
                    </a:ext>
                  </a:extLst>
                </p:cNvPr>
                <p:cNvSpPr>
                  <a:spLocks/>
                </p:cNvSpPr>
                <p:nvPr/>
              </p:nvSpPr>
              <p:spPr bwMode="auto">
                <a:xfrm>
                  <a:off x="11076038" y="4842626"/>
                  <a:ext cx="424029" cy="424029"/>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grpSp>
        <p:nvGrpSpPr>
          <p:cNvPr id="48" name="Groupe 47">
            <a:extLst>
              <a:ext uri="{FF2B5EF4-FFF2-40B4-BE49-F238E27FC236}">
                <a16:creationId xmlns:a16="http://schemas.microsoft.com/office/drawing/2014/main" id="{B35E577C-AAD2-4E90-8CE3-7E0A5AE01127}"/>
              </a:ext>
            </a:extLst>
          </p:cNvPr>
          <p:cNvGrpSpPr/>
          <p:nvPr/>
        </p:nvGrpSpPr>
        <p:grpSpPr>
          <a:xfrm>
            <a:off x="4894497" y="2558966"/>
            <a:ext cx="1777025" cy="1927059"/>
            <a:chOff x="6246253" y="1145906"/>
            <a:chExt cx="1777025" cy="1927059"/>
          </a:xfrm>
        </p:grpSpPr>
        <p:sp>
          <p:nvSpPr>
            <p:cNvPr id="7" name="Rectangle 6">
              <a:extLst>
                <a:ext uri="{FF2B5EF4-FFF2-40B4-BE49-F238E27FC236}">
                  <a16:creationId xmlns:a16="http://schemas.microsoft.com/office/drawing/2014/main" id="{FEF8EB39-B28B-4EEE-9956-0AF17B3F5030}"/>
                </a:ext>
              </a:extLst>
            </p:cNvPr>
            <p:cNvSpPr/>
            <p:nvPr/>
          </p:nvSpPr>
          <p:spPr>
            <a:xfrm>
              <a:off x="6246253" y="1145906"/>
              <a:ext cx="1777025" cy="369332"/>
            </a:xfrm>
            <a:prstGeom prst="rect">
              <a:avLst/>
            </a:prstGeom>
          </p:spPr>
          <p:txBody>
            <a:bodyPr wrap="none">
              <a:spAutoFit/>
            </a:bodyPr>
            <a:lstStyle/>
            <a:p>
              <a:r>
                <a:rPr lang="fr-FR"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 Time-to-</a:t>
              </a:r>
              <a:r>
                <a:rPr lang="fr-FR" dirty="0" err="1">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market</a:t>
              </a:r>
              <a:r>
                <a:rPr lang="fr-FR"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 »</a:t>
              </a:r>
              <a:endParaRPr lang="en-GB"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endParaRPr>
            </a:p>
          </p:txBody>
        </p:sp>
        <p:grpSp>
          <p:nvGrpSpPr>
            <p:cNvPr id="36" name="Groupe 35">
              <a:extLst>
                <a:ext uri="{FF2B5EF4-FFF2-40B4-BE49-F238E27FC236}">
                  <a16:creationId xmlns:a16="http://schemas.microsoft.com/office/drawing/2014/main" id="{3FD25EA4-9D2C-4173-AAE0-30D760A7B493}"/>
                </a:ext>
              </a:extLst>
            </p:cNvPr>
            <p:cNvGrpSpPr>
              <a:grpSpLocks noChangeAspect="1"/>
            </p:cNvGrpSpPr>
            <p:nvPr/>
          </p:nvGrpSpPr>
          <p:grpSpPr>
            <a:xfrm>
              <a:off x="6664897" y="1964573"/>
              <a:ext cx="1163856" cy="1108392"/>
              <a:chOff x="3602038" y="1939925"/>
              <a:chExt cx="871538" cy="811213"/>
            </a:xfrm>
          </p:grpSpPr>
          <p:sp>
            <p:nvSpPr>
              <p:cNvPr id="37" name="Freeform 24">
                <a:extLst>
                  <a:ext uri="{FF2B5EF4-FFF2-40B4-BE49-F238E27FC236}">
                    <a16:creationId xmlns:a16="http://schemas.microsoft.com/office/drawing/2014/main" id="{1FB01938-6C59-4473-8CD1-EC972DFDDDCF}"/>
                  </a:ext>
                </a:extLst>
              </p:cNvPr>
              <p:cNvSpPr>
                <a:spLocks/>
              </p:cNvSpPr>
              <p:nvPr/>
            </p:nvSpPr>
            <p:spPr bwMode="auto">
              <a:xfrm>
                <a:off x="3602038" y="1939925"/>
                <a:ext cx="871538" cy="811213"/>
              </a:xfrm>
              <a:custGeom>
                <a:avLst/>
                <a:gdLst>
                  <a:gd name="T0" fmla="*/ 33 w 232"/>
                  <a:gd name="T1" fmla="*/ 169 h 216"/>
                  <a:gd name="T2" fmla="*/ 56 w 232"/>
                  <a:gd name="T3" fmla="*/ 32 h 216"/>
                  <a:gd name="T4" fmla="*/ 199 w 232"/>
                  <a:gd name="T5" fmla="*/ 52 h 216"/>
                  <a:gd name="T6" fmla="*/ 173 w 232"/>
                  <a:gd name="T7" fmla="*/ 184 h 216"/>
                  <a:gd name="T8" fmla="*/ 33 w 232"/>
                  <a:gd name="T9" fmla="*/ 169 h 216"/>
                </a:gdLst>
                <a:ahLst/>
                <a:cxnLst>
                  <a:cxn ang="0">
                    <a:pos x="T0" y="T1"/>
                  </a:cxn>
                  <a:cxn ang="0">
                    <a:pos x="T2" y="T3"/>
                  </a:cxn>
                  <a:cxn ang="0">
                    <a:pos x="T4" y="T5"/>
                  </a:cxn>
                  <a:cxn ang="0">
                    <a:pos x="T6" y="T7"/>
                  </a:cxn>
                  <a:cxn ang="0">
                    <a:pos x="T8" y="T9"/>
                  </a:cxn>
                </a:cxnLst>
                <a:rect l="0" t="0" r="r" b="b"/>
                <a:pathLst>
                  <a:path w="232" h="216">
                    <a:moveTo>
                      <a:pt x="33" y="169"/>
                    </a:moveTo>
                    <a:cubicBezTo>
                      <a:pt x="0" y="126"/>
                      <a:pt x="10" y="64"/>
                      <a:pt x="56" y="32"/>
                    </a:cubicBezTo>
                    <a:cubicBezTo>
                      <a:pt x="101" y="0"/>
                      <a:pt x="166" y="9"/>
                      <a:pt x="199" y="52"/>
                    </a:cubicBezTo>
                    <a:cubicBezTo>
                      <a:pt x="232" y="96"/>
                      <a:pt x="219" y="152"/>
                      <a:pt x="173" y="184"/>
                    </a:cubicBezTo>
                    <a:cubicBezTo>
                      <a:pt x="127" y="216"/>
                      <a:pt x="67" y="213"/>
                      <a:pt x="33" y="169"/>
                    </a:cubicBezTo>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8" name="Groupe 37">
                <a:extLst>
                  <a:ext uri="{FF2B5EF4-FFF2-40B4-BE49-F238E27FC236}">
                    <a16:creationId xmlns:a16="http://schemas.microsoft.com/office/drawing/2014/main" id="{B65080D8-EBE7-4576-99C7-C6B58ABBE922}"/>
                  </a:ext>
                </a:extLst>
              </p:cNvPr>
              <p:cNvGrpSpPr/>
              <p:nvPr/>
            </p:nvGrpSpPr>
            <p:grpSpPr>
              <a:xfrm>
                <a:off x="3884613" y="2157412"/>
                <a:ext cx="303213" cy="398463"/>
                <a:chOff x="3884613" y="2157412"/>
                <a:chExt cx="303213" cy="398463"/>
              </a:xfrm>
            </p:grpSpPr>
            <p:sp>
              <p:nvSpPr>
                <p:cNvPr id="39" name="Freeform 110">
                  <a:extLst>
                    <a:ext uri="{FF2B5EF4-FFF2-40B4-BE49-F238E27FC236}">
                      <a16:creationId xmlns:a16="http://schemas.microsoft.com/office/drawing/2014/main" id="{E3083A31-DC76-4749-B8A6-70856C19AD9B}"/>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11">
                  <a:extLst>
                    <a:ext uri="{FF2B5EF4-FFF2-40B4-BE49-F238E27FC236}">
                      <a16:creationId xmlns:a16="http://schemas.microsoft.com/office/drawing/2014/main" id="{3A5836C8-7565-4D82-A507-235E43614C22}"/>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12">
                  <a:extLst>
                    <a:ext uri="{FF2B5EF4-FFF2-40B4-BE49-F238E27FC236}">
                      <a16:creationId xmlns:a16="http://schemas.microsoft.com/office/drawing/2014/main" id="{F59E7F16-A94A-4351-8EF7-53F0CF225D60}"/>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13">
                  <a:extLst>
                    <a:ext uri="{FF2B5EF4-FFF2-40B4-BE49-F238E27FC236}">
                      <a16:creationId xmlns:a16="http://schemas.microsoft.com/office/drawing/2014/main" id="{0CE05688-7016-4478-8EF1-34F3B4B91C38}"/>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43" name="Groupe 42">
            <a:extLst>
              <a:ext uri="{FF2B5EF4-FFF2-40B4-BE49-F238E27FC236}">
                <a16:creationId xmlns:a16="http://schemas.microsoft.com/office/drawing/2014/main" id="{10847C6D-19E0-4700-A9B1-07341C8E34A8}"/>
              </a:ext>
            </a:extLst>
          </p:cNvPr>
          <p:cNvGrpSpPr/>
          <p:nvPr/>
        </p:nvGrpSpPr>
        <p:grpSpPr>
          <a:xfrm>
            <a:off x="1271464" y="1124744"/>
            <a:ext cx="1994163" cy="4290809"/>
            <a:chOff x="7220045" y="1571129"/>
            <a:chExt cx="2054160" cy="4546736"/>
          </a:xfrm>
        </p:grpSpPr>
        <p:pic>
          <p:nvPicPr>
            <p:cNvPr id="44" name="Image 43">
              <a:extLst>
                <a:ext uri="{FF2B5EF4-FFF2-40B4-BE49-F238E27FC236}">
                  <a16:creationId xmlns:a16="http://schemas.microsoft.com/office/drawing/2014/main" id="{30250A5C-5F65-46CA-8D49-1857471E1C4F}"/>
                </a:ext>
              </a:extLst>
            </p:cNvPr>
            <p:cNvPicPr>
              <a:picLocks noChangeAspect="1"/>
            </p:cNvPicPr>
            <p:nvPr/>
          </p:nvPicPr>
          <p:blipFill rotWithShape="1">
            <a:blip r:embed="rId2"/>
            <a:srcRect l="70466" t="-6956" r="10681" b="6956"/>
            <a:stretch/>
          </p:blipFill>
          <p:spPr>
            <a:xfrm>
              <a:off x="7220045" y="1571129"/>
              <a:ext cx="1988446" cy="3039534"/>
            </a:xfrm>
            <a:prstGeom prst="rect">
              <a:avLst/>
            </a:prstGeom>
          </p:spPr>
        </p:pic>
        <p:sp>
          <p:nvSpPr>
            <p:cNvPr id="45" name="Rectangle 44">
              <a:extLst>
                <a:ext uri="{FF2B5EF4-FFF2-40B4-BE49-F238E27FC236}">
                  <a16:creationId xmlns:a16="http://schemas.microsoft.com/office/drawing/2014/main" id="{F804D0DB-7C38-4952-AFFE-B9A31BFBF8D7}"/>
                </a:ext>
              </a:extLst>
            </p:cNvPr>
            <p:cNvSpPr/>
            <p:nvPr/>
          </p:nvSpPr>
          <p:spPr>
            <a:xfrm>
              <a:off x="7329989" y="4387933"/>
              <a:ext cx="1944216" cy="72008"/>
            </a:xfrm>
            <a:prstGeom prst="rect">
              <a:avLst/>
            </a:prstGeom>
            <a:solidFill>
              <a:schemeClr val="tx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Ellipse 45">
              <a:extLst>
                <a:ext uri="{FF2B5EF4-FFF2-40B4-BE49-F238E27FC236}">
                  <a16:creationId xmlns:a16="http://schemas.microsoft.com/office/drawing/2014/main" id="{88D50827-73F9-49E4-BC1E-88B01343DEC8}"/>
                </a:ext>
              </a:extLst>
            </p:cNvPr>
            <p:cNvSpPr/>
            <p:nvPr/>
          </p:nvSpPr>
          <p:spPr>
            <a:xfrm>
              <a:off x="8199885" y="4306254"/>
              <a:ext cx="204423" cy="2253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7" name="Image 46" descr="Une image contenant jouet, dessin&#10;&#10;Description générée automatiquement">
              <a:extLst>
                <a:ext uri="{FF2B5EF4-FFF2-40B4-BE49-F238E27FC236}">
                  <a16:creationId xmlns:a16="http://schemas.microsoft.com/office/drawing/2014/main" id="{5D6BFB49-AC36-4331-8305-A15063CA346D}"/>
                </a:ext>
              </a:extLst>
            </p:cNvPr>
            <p:cNvPicPr>
              <a:picLocks noChangeAspect="1"/>
            </p:cNvPicPr>
            <p:nvPr/>
          </p:nvPicPr>
          <p:blipFill rotWithShape="1">
            <a:blip r:embed="rId3">
              <a:extLst>
                <a:ext uri="{28A0092B-C50C-407E-A947-70E740481C1C}">
                  <a14:useLocalDpi xmlns:a14="http://schemas.microsoft.com/office/drawing/2010/main" val="0"/>
                </a:ext>
              </a:extLst>
            </a:blip>
            <a:srcRect l="72533" t="67699" r="5471" b="563"/>
            <a:stretch/>
          </p:blipFill>
          <p:spPr>
            <a:xfrm>
              <a:off x="7252848" y="4676442"/>
              <a:ext cx="1944215" cy="1441423"/>
            </a:xfrm>
            <a:prstGeom prst="rect">
              <a:avLst/>
            </a:prstGeom>
          </p:spPr>
        </p:pic>
      </p:grpSp>
      <p:sp>
        <p:nvSpPr>
          <p:cNvPr id="51" name="Rectangle : coins arrondis 50">
            <a:extLst>
              <a:ext uri="{FF2B5EF4-FFF2-40B4-BE49-F238E27FC236}">
                <a16:creationId xmlns:a16="http://schemas.microsoft.com/office/drawing/2014/main" id="{9B636C84-7784-413E-9943-CDD89B67CB8B}"/>
              </a:ext>
            </a:extLst>
          </p:cNvPr>
          <p:cNvSpPr/>
          <p:nvPr/>
        </p:nvSpPr>
        <p:spPr>
          <a:xfrm>
            <a:off x="4275911" y="1480733"/>
            <a:ext cx="6984776" cy="3750284"/>
          </a:xfrm>
          <a:prstGeom prst="roundRect">
            <a:avLst/>
          </a:prstGeom>
          <a:noFill/>
          <a:ln w="38100">
            <a:solidFill>
              <a:srgbClr val="0F999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7832570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a:t>Planning de projet à trois mois</a:t>
            </a:r>
            <a:endParaRPr lang="en-GB" dirty="0"/>
          </a:p>
        </p:txBody>
      </p:sp>
      <p:sp>
        <p:nvSpPr>
          <p:cNvPr id="5" name="Text Placeholder 4"/>
          <p:cNvSpPr>
            <a:spLocks noGrp="1"/>
          </p:cNvSpPr>
          <p:nvPr>
            <p:ph type="body" sz="quarter" idx="10"/>
          </p:nvPr>
        </p:nvSpPr>
        <p:spPr>
          <a:xfrm>
            <a:off x="227350" y="2205319"/>
            <a:ext cx="3537828" cy="4076234"/>
          </a:xfrm>
        </p:spPr>
        <p:txBody>
          <a:bodyPr/>
          <a:lstStyle/>
          <a:p>
            <a:r>
              <a:rPr lang="fr-FR" dirty="0" err="1"/>
              <a:t>devOps</a:t>
            </a:r>
            <a:r>
              <a:rPr lang="fr-FR" dirty="0"/>
              <a:t>, la transformation se déroule d’ailleurs en quatre temps que l’on peut résumer ainsi : identification des impacts, examen de la chaîne de valeur de l’entreprise, configuration et déploiement agile et </a:t>
            </a:r>
            <a:r>
              <a:rPr lang="fr-FR" dirty="0" err="1"/>
              <a:t>lean</a:t>
            </a:r>
            <a:r>
              <a:rPr lang="fr-FR" dirty="0"/>
              <a:t> et, enfin seulement, implémentation et déploiement de la chaîne d’automatisation. DevOps apparaît bien comme un sujet d’entreprise et, à ce titre, il requiert le </a:t>
            </a:r>
            <a:r>
              <a:rPr lang="fr-FR" dirty="0" err="1"/>
              <a:t>sponsorship</a:t>
            </a:r>
            <a:r>
              <a:rPr lang="fr-FR" dirty="0"/>
              <a:t> de la direction générale.</a:t>
            </a: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6" y="2205319"/>
            <a:ext cx="3537827" cy="4076234"/>
          </a:xfrm>
        </p:spPr>
        <p:txBody>
          <a:bodyPr/>
          <a:lstStyle/>
          <a:p>
            <a:r>
              <a:rPr lang="fr-FR" dirty="0"/>
              <a:t>DevOps ne signifie donc pas la fin des tests mais leur décalage « vers la gauche », c’est-à-dire plus en amont afin de fiabiliser au plus tôt ce qui est livré. Au lieu d’être une étape à part, le test doit être une pratique et une préoccupation continue tout au long du cycle de développement.</a:t>
            </a: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4076234"/>
          </a:xfrm>
        </p:spPr>
        <p:txBody>
          <a:bodyPr/>
          <a:lstStyle/>
          <a:p>
            <a:r>
              <a:rPr lang="fr-FR" dirty="0"/>
              <a:t>Certes, accélérer le time-to-</a:t>
            </a:r>
            <a:r>
              <a:rPr lang="fr-FR" dirty="0" err="1"/>
              <a:t>market</a:t>
            </a:r>
            <a:r>
              <a:rPr lang="fr-FR" dirty="0"/>
              <a:t> est souvent l’un des principaux objectifs d’une démarche DevOps, mais cela ne signifie pas qu’il faille oublier toute prudence. Pour aller deux fois plus vite, il faut aussi être deux fois plus vigilant. Étant donné son caractère stratégique, la livraison continue doit être conçue comme un moteur puissant qui devra impérativement rester sous contrôle. C’est pourquoi la solution doit prendre en compte la vitesse cible afin de mettre en place les garde-fous appropriés pour résister à l’inévitable pression des métiers. Sinon, gare au surrégime et à la sortie de route !</a:t>
            </a:r>
            <a:br>
              <a:rPr lang="fr-FR" dirty="0"/>
            </a:br>
            <a:r>
              <a:rPr lang="fr-FR" dirty="0"/>
              <a:t>Le référentiel Safe, par exemple, organise des sprints de deux semaines ainsi que des sprints réguliers de consolidation et d’innovation pour traiter les back logs et les évolutions. Dans ce cadre, la vitesse est élevée mais bridée, et elle ne risque pas de devenir une quête effrénée à laquelle tout serait sacrifié</a:t>
            </a:r>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oupe 62">
            <a:extLst>
              <a:ext uri="{FF2B5EF4-FFF2-40B4-BE49-F238E27FC236}">
                <a16:creationId xmlns:a16="http://schemas.microsoft.com/office/drawing/2014/main" id="{13381904-C2C4-41C0-899F-943A6DCE9DBF}"/>
              </a:ext>
            </a:extLst>
          </p:cNvPr>
          <p:cNvGrpSpPr/>
          <p:nvPr/>
        </p:nvGrpSpPr>
        <p:grpSpPr>
          <a:xfrm>
            <a:off x="7188490" y="1730480"/>
            <a:ext cx="1994163" cy="4290809"/>
            <a:chOff x="7220045" y="1571129"/>
            <a:chExt cx="2054160" cy="4546736"/>
          </a:xfrm>
        </p:grpSpPr>
        <p:pic>
          <p:nvPicPr>
            <p:cNvPr id="31" name="Image 30">
              <a:extLst>
                <a:ext uri="{FF2B5EF4-FFF2-40B4-BE49-F238E27FC236}">
                  <a16:creationId xmlns:a16="http://schemas.microsoft.com/office/drawing/2014/main" id="{2F9DE336-0683-4400-9DBA-58EECDD6FFBF}"/>
                </a:ext>
              </a:extLst>
            </p:cNvPr>
            <p:cNvPicPr>
              <a:picLocks noChangeAspect="1"/>
            </p:cNvPicPr>
            <p:nvPr/>
          </p:nvPicPr>
          <p:blipFill rotWithShape="1">
            <a:blip r:embed="rId3"/>
            <a:srcRect l="70466" t="-6956" r="10681" b="6956"/>
            <a:stretch/>
          </p:blipFill>
          <p:spPr>
            <a:xfrm>
              <a:off x="7220045" y="1571129"/>
              <a:ext cx="1988446" cy="3039534"/>
            </a:xfrm>
            <a:prstGeom prst="rect">
              <a:avLst/>
            </a:prstGeom>
          </p:spPr>
        </p:pic>
        <p:sp>
          <p:nvSpPr>
            <p:cNvPr id="49" name="Rectangle 48">
              <a:extLst>
                <a:ext uri="{FF2B5EF4-FFF2-40B4-BE49-F238E27FC236}">
                  <a16:creationId xmlns:a16="http://schemas.microsoft.com/office/drawing/2014/main" id="{41426C00-ABB1-4651-B59C-F635D4375937}"/>
                </a:ext>
              </a:extLst>
            </p:cNvPr>
            <p:cNvSpPr/>
            <p:nvPr/>
          </p:nvSpPr>
          <p:spPr>
            <a:xfrm>
              <a:off x="7329989" y="4387933"/>
              <a:ext cx="1944216" cy="72008"/>
            </a:xfrm>
            <a:prstGeom prst="rect">
              <a:avLst/>
            </a:prstGeom>
            <a:solidFill>
              <a:schemeClr val="tx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Ellipse 51">
              <a:extLst>
                <a:ext uri="{FF2B5EF4-FFF2-40B4-BE49-F238E27FC236}">
                  <a16:creationId xmlns:a16="http://schemas.microsoft.com/office/drawing/2014/main" id="{3ED1CB53-31EC-40EC-BB91-63DE0F618FEF}"/>
                </a:ext>
              </a:extLst>
            </p:cNvPr>
            <p:cNvSpPr/>
            <p:nvPr/>
          </p:nvSpPr>
          <p:spPr>
            <a:xfrm>
              <a:off x="8199885" y="4306254"/>
              <a:ext cx="204423" cy="2253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58" name="Image 57" descr="Une image contenant jouet, dessin&#10;&#10;Description générée automatiquement">
              <a:extLst>
                <a:ext uri="{FF2B5EF4-FFF2-40B4-BE49-F238E27FC236}">
                  <a16:creationId xmlns:a16="http://schemas.microsoft.com/office/drawing/2014/main" id="{6CE052C6-F5E3-4A0F-92EB-1B613FF6E93D}"/>
                </a:ext>
              </a:extLst>
            </p:cNvPr>
            <p:cNvPicPr>
              <a:picLocks noChangeAspect="1"/>
            </p:cNvPicPr>
            <p:nvPr/>
          </p:nvPicPr>
          <p:blipFill rotWithShape="1">
            <a:blip r:embed="rId4">
              <a:extLst>
                <a:ext uri="{28A0092B-C50C-407E-A947-70E740481C1C}">
                  <a14:useLocalDpi xmlns:a14="http://schemas.microsoft.com/office/drawing/2010/main" val="0"/>
                </a:ext>
              </a:extLst>
            </a:blip>
            <a:srcRect l="72533" t="67699" r="5471" b="563"/>
            <a:stretch/>
          </p:blipFill>
          <p:spPr>
            <a:xfrm>
              <a:off x="7252848" y="4676442"/>
              <a:ext cx="1944215" cy="1441423"/>
            </a:xfrm>
            <a:prstGeom prst="rect">
              <a:avLst/>
            </a:prstGeom>
          </p:spPr>
        </p:pic>
      </p:grpSp>
      <p:grpSp>
        <p:nvGrpSpPr>
          <p:cNvPr id="59" name="Groupe 58">
            <a:extLst>
              <a:ext uri="{FF2B5EF4-FFF2-40B4-BE49-F238E27FC236}">
                <a16:creationId xmlns:a16="http://schemas.microsoft.com/office/drawing/2014/main" id="{BEDDA323-6C2E-40F2-97BC-E32A6D543425}"/>
              </a:ext>
            </a:extLst>
          </p:cNvPr>
          <p:cNvGrpSpPr/>
          <p:nvPr/>
        </p:nvGrpSpPr>
        <p:grpSpPr>
          <a:xfrm>
            <a:off x="1356651" y="2074274"/>
            <a:ext cx="2125089" cy="3947014"/>
            <a:chOff x="1316468" y="2074274"/>
            <a:chExt cx="2125089" cy="3947014"/>
          </a:xfrm>
        </p:grpSpPr>
        <p:pic>
          <p:nvPicPr>
            <p:cNvPr id="28" name="Image 27">
              <a:extLst>
                <a:ext uri="{FF2B5EF4-FFF2-40B4-BE49-F238E27FC236}">
                  <a16:creationId xmlns:a16="http://schemas.microsoft.com/office/drawing/2014/main" id="{EB25D322-2D98-4687-B7B6-B50F6DD76177}"/>
                </a:ext>
              </a:extLst>
            </p:cNvPr>
            <p:cNvPicPr>
              <a:picLocks noChangeAspect="1"/>
            </p:cNvPicPr>
            <p:nvPr/>
          </p:nvPicPr>
          <p:blipFill rotWithShape="1">
            <a:blip r:embed="rId3"/>
            <a:srcRect r="81147"/>
            <a:stretch/>
          </p:blipFill>
          <p:spPr>
            <a:xfrm>
              <a:off x="1720099" y="2074274"/>
              <a:ext cx="1656184" cy="2676602"/>
            </a:xfrm>
            <a:prstGeom prst="rect">
              <a:avLst/>
            </a:prstGeom>
          </p:spPr>
        </p:pic>
        <p:sp>
          <p:nvSpPr>
            <p:cNvPr id="45" name="Rectangle 44">
              <a:extLst>
                <a:ext uri="{FF2B5EF4-FFF2-40B4-BE49-F238E27FC236}">
                  <a16:creationId xmlns:a16="http://schemas.microsoft.com/office/drawing/2014/main" id="{C6FB82DA-A52A-4D01-81B2-9331D777C00F}"/>
                </a:ext>
              </a:extLst>
            </p:cNvPr>
            <p:cNvSpPr/>
            <p:nvPr/>
          </p:nvSpPr>
          <p:spPr>
            <a:xfrm>
              <a:off x="1497341" y="4382910"/>
              <a:ext cx="1944216" cy="72008"/>
            </a:xfrm>
            <a:prstGeom prst="rect">
              <a:avLst/>
            </a:prstGeom>
            <a:solidFill>
              <a:schemeClr val="tx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Ellipse 49">
              <a:extLst>
                <a:ext uri="{FF2B5EF4-FFF2-40B4-BE49-F238E27FC236}">
                  <a16:creationId xmlns:a16="http://schemas.microsoft.com/office/drawing/2014/main" id="{981933DE-550E-4D1A-96CA-091BCD0547DF}"/>
                </a:ext>
              </a:extLst>
            </p:cNvPr>
            <p:cNvSpPr/>
            <p:nvPr/>
          </p:nvSpPr>
          <p:spPr>
            <a:xfrm>
              <a:off x="2278212" y="4319651"/>
              <a:ext cx="204423" cy="2253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55" name="Image 54" descr="Une image contenant jouet, dessin&#10;&#10;Description générée automatiquement">
              <a:extLst>
                <a:ext uri="{FF2B5EF4-FFF2-40B4-BE49-F238E27FC236}">
                  <a16:creationId xmlns:a16="http://schemas.microsoft.com/office/drawing/2014/main" id="{FD33097C-C8CD-4D8E-8FA9-CA7E7DB3098D}"/>
                </a:ext>
              </a:extLst>
            </p:cNvPr>
            <p:cNvPicPr>
              <a:picLocks noChangeAspect="1"/>
            </p:cNvPicPr>
            <p:nvPr/>
          </p:nvPicPr>
          <p:blipFill rotWithShape="1">
            <a:blip r:embed="rId4">
              <a:extLst>
                <a:ext uri="{28A0092B-C50C-407E-A947-70E740481C1C}">
                  <a14:useLocalDpi xmlns:a14="http://schemas.microsoft.com/office/drawing/2010/main" val="0"/>
                </a:ext>
              </a:extLst>
            </a:blip>
            <a:srcRect l="4380" t="68114" r="75400" b="2761"/>
            <a:stretch/>
          </p:blipFill>
          <p:spPr>
            <a:xfrm>
              <a:off x="1316468" y="4698563"/>
              <a:ext cx="1787314" cy="1322725"/>
            </a:xfrm>
            <a:prstGeom prst="rect">
              <a:avLst/>
            </a:prstGeom>
          </p:spPr>
        </p:pic>
      </p:grpSp>
      <p:grpSp>
        <p:nvGrpSpPr>
          <p:cNvPr id="60" name="Groupe 59">
            <a:extLst>
              <a:ext uri="{FF2B5EF4-FFF2-40B4-BE49-F238E27FC236}">
                <a16:creationId xmlns:a16="http://schemas.microsoft.com/office/drawing/2014/main" id="{CD7E46C5-60D6-4BAD-B98B-8E12D1276ED3}"/>
              </a:ext>
            </a:extLst>
          </p:cNvPr>
          <p:cNvGrpSpPr/>
          <p:nvPr/>
        </p:nvGrpSpPr>
        <p:grpSpPr>
          <a:xfrm>
            <a:off x="3376283" y="2074274"/>
            <a:ext cx="2009490" cy="3906539"/>
            <a:chOff x="3376283" y="2074274"/>
            <a:chExt cx="2009490" cy="3906539"/>
          </a:xfrm>
        </p:grpSpPr>
        <p:pic>
          <p:nvPicPr>
            <p:cNvPr id="29" name="Image 28">
              <a:extLst>
                <a:ext uri="{FF2B5EF4-FFF2-40B4-BE49-F238E27FC236}">
                  <a16:creationId xmlns:a16="http://schemas.microsoft.com/office/drawing/2014/main" id="{1947712E-7D9D-4531-86C5-406DF16516D1}"/>
                </a:ext>
              </a:extLst>
            </p:cNvPr>
            <p:cNvPicPr>
              <a:picLocks noChangeAspect="1"/>
            </p:cNvPicPr>
            <p:nvPr/>
          </p:nvPicPr>
          <p:blipFill rotWithShape="1">
            <a:blip r:embed="rId3"/>
            <a:srcRect l="21424" t="4072" r="59723" b="-4072"/>
            <a:stretch/>
          </p:blipFill>
          <p:spPr>
            <a:xfrm>
              <a:off x="3453211" y="2074274"/>
              <a:ext cx="1656184" cy="2676602"/>
            </a:xfrm>
            <a:prstGeom prst="rect">
              <a:avLst/>
            </a:prstGeom>
          </p:spPr>
        </p:pic>
        <p:sp>
          <p:nvSpPr>
            <p:cNvPr id="46" name="Rectangle 45">
              <a:extLst>
                <a:ext uri="{FF2B5EF4-FFF2-40B4-BE49-F238E27FC236}">
                  <a16:creationId xmlns:a16="http://schemas.microsoft.com/office/drawing/2014/main" id="{84A896A8-4775-4083-B9E3-FCE434E9B66F}"/>
                </a:ext>
              </a:extLst>
            </p:cNvPr>
            <p:cNvSpPr/>
            <p:nvPr/>
          </p:nvSpPr>
          <p:spPr>
            <a:xfrm>
              <a:off x="3441557" y="4382910"/>
              <a:ext cx="1944216" cy="72008"/>
            </a:xfrm>
            <a:prstGeom prst="rect">
              <a:avLst/>
            </a:prstGeom>
            <a:solidFill>
              <a:schemeClr val="tx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Ellipse 50">
              <a:extLst>
                <a:ext uri="{FF2B5EF4-FFF2-40B4-BE49-F238E27FC236}">
                  <a16:creationId xmlns:a16="http://schemas.microsoft.com/office/drawing/2014/main" id="{B9E4FD9B-3CB7-4066-96DF-B5066493204C}"/>
                </a:ext>
              </a:extLst>
            </p:cNvPr>
            <p:cNvSpPr/>
            <p:nvPr/>
          </p:nvSpPr>
          <p:spPr>
            <a:xfrm>
              <a:off x="4199179" y="4319651"/>
              <a:ext cx="204423" cy="2253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56" name="Image 55" descr="Une image contenant jouet, dessin&#10;&#10;Description générée automatiquement">
              <a:extLst>
                <a:ext uri="{FF2B5EF4-FFF2-40B4-BE49-F238E27FC236}">
                  <a16:creationId xmlns:a16="http://schemas.microsoft.com/office/drawing/2014/main" id="{DF1E3FF3-A4B5-4BC8-987F-4DD8DA9F59A7}"/>
                </a:ext>
              </a:extLst>
            </p:cNvPr>
            <p:cNvPicPr>
              <a:picLocks noChangeAspect="1"/>
            </p:cNvPicPr>
            <p:nvPr/>
          </p:nvPicPr>
          <p:blipFill rotWithShape="1">
            <a:blip r:embed="rId4">
              <a:extLst>
                <a:ext uri="{28A0092B-C50C-407E-A947-70E740481C1C}">
                  <a14:useLocalDpi xmlns:a14="http://schemas.microsoft.com/office/drawing/2010/main" val="0"/>
                </a:ext>
              </a:extLst>
            </a:blip>
            <a:srcRect l="27361" t="67050" r="52419" b="3825"/>
            <a:stretch/>
          </p:blipFill>
          <p:spPr>
            <a:xfrm>
              <a:off x="3376283" y="4658088"/>
              <a:ext cx="1787314" cy="1322725"/>
            </a:xfrm>
            <a:prstGeom prst="rect">
              <a:avLst/>
            </a:prstGeom>
          </p:spPr>
        </p:pic>
      </p:grpSp>
      <p:grpSp>
        <p:nvGrpSpPr>
          <p:cNvPr id="61" name="Groupe 60">
            <a:extLst>
              <a:ext uri="{FF2B5EF4-FFF2-40B4-BE49-F238E27FC236}">
                <a16:creationId xmlns:a16="http://schemas.microsoft.com/office/drawing/2014/main" id="{88804A23-BB2F-4FFC-9593-1940FE310E0E}"/>
              </a:ext>
            </a:extLst>
          </p:cNvPr>
          <p:cNvGrpSpPr/>
          <p:nvPr/>
        </p:nvGrpSpPr>
        <p:grpSpPr>
          <a:xfrm>
            <a:off x="5385773" y="2114343"/>
            <a:ext cx="1944216" cy="3888081"/>
            <a:chOff x="5385773" y="2114343"/>
            <a:chExt cx="1944216" cy="3888081"/>
          </a:xfrm>
        </p:grpSpPr>
        <p:pic>
          <p:nvPicPr>
            <p:cNvPr id="30" name="Image 29">
              <a:extLst>
                <a:ext uri="{FF2B5EF4-FFF2-40B4-BE49-F238E27FC236}">
                  <a16:creationId xmlns:a16="http://schemas.microsoft.com/office/drawing/2014/main" id="{E37AFF95-A046-4F3E-B195-557D54666C6A}"/>
                </a:ext>
              </a:extLst>
            </p:cNvPr>
            <p:cNvPicPr>
              <a:picLocks noChangeAspect="1"/>
            </p:cNvPicPr>
            <p:nvPr/>
          </p:nvPicPr>
          <p:blipFill rotWithShape="1">
            <a:blip r:embed="rId3"/>
            <a:srcRect l="45903" t="4837" r="35244" b="-4837"/>
            <a:stretch/>
          </p:blipFill>
          <p:spPr>
            <a:xfrm>
              <a:off x="5513026" y="2114343"/>
              <a:ext cx="1656184" cy="2676602"/>
            </a:xfrm>
            <a:prstGeom prst="rect">
              <a:avLst/>
            </a:prstGeom>
          </p:spPr>
        </p:pic>
        <p:sp>
          <p:nvSpPr>
            <p:cNvPr id="47" name="Rectangle 46">
              <a:extLst>
                <a:ext uri="{FF2B5EF4-FFF2-40B4-BE49-F238E27FC236}">
                  <a16:creationId xmlns:a16="http://schemas.microsoft.com/office/drawing/2014/main" id="{120DDAB9-B793-43E6-A00D-10F180F31534}"/>
                </a:ext>
              </a:extLst>
            </p:cNvPr>
            <p:cNvSpPr/>
            <p:nvPr/>
          </p:nvSpPr>
          <p:spPr>
            <a:xfrm>
              <a:off x="5385773" y="4382910"/>
              <a:ext cx="1944216" cy="72008"/>
            </a:xfrm>
            <a:prstGeom prst="rect">
              <a:avLst/>
            </a:prstGeom>
            <a:solidFill>
              <a:schemeClr val="tx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Ellipse 52">
              <a:extLst>
                <a:ext uri="{FF2B5EF4-FFF2-40B4-BE49-F238E27FC236}">
                  <a16:creationId xmlns:a16="http://schemas.microsoft.com/office/drawing/2014/main" id="{B00893E3-4515-482D-B3C7-9B578A50D707}"/>
                </a:ext>
              </a:extLst>
            </p:cNvPr>
            <p:cNvSpPr/>
            <p:nvPr/>
          </p:nvSpPr>
          <p:spPr>
            <a:xfrm>
              <a:off x="6096000" y="4319651"/>
              <a:ext cx="204423" cy="2253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57" name="Image 56" descr="Une image contenant jouet, dessin&#10;&#10;Description générée automatiquement">
              <a:extLst>
                <a:ext uri="{FF2B5EF4-FFF2-40B4-BE49-F238E27FC236}">
                  <a16:creationId xmlns:a16="http://schemas.microsoft.com/office/drawing/2014/main" id="{424EFD93-F15A-4062-A060-FE02954DFA98}"/>
                </a:ext>
              </a:extLst>
            </p:cNvPr>
            <p:cNvPicPr>
              <a:picLocks noChangeAspect="1"/>
            </p:cNvPicPr>
            <p:nvPr/>
          </p:nvPicPr>
          <p:blipFill rotWithShape="1">
            <a:blip r:embed="rId4">
              <a:extLst>
                <a:ext uri="{28A0092B-C50C-407E-A947-70E740481C1C}">
                  <a14:useLocalDpi xmlns:a14="http://schemas.microsoft.com/office/drawing/2010/main" val="0"/>
                </a:ext>
              </a:extLst>
            </a:blip>
            <a:srcRect l="50698" t="67849" r="29082" b="3026"/>
            <a:stretch/>
          </p:blipFill>
          <p:spPr>
            <a:xfrm>
              <a:off x="5427148" y="4679699"/>
              <a:ext cx="1787314" cy="1322725"/>
            </a:xfrm>
            <a:prstGeom prst="rect">
              <a:avLst/>
            </a:prstGeom>
          </p:spPr>
        </p:pic>
      </p:grpSp>
      <p:grpSp>
        <p:nvGrpSpPr>
          <p:cNvPr id="69" name="Groupe 68">
            <a:extLst>
              <a:ext uri="{FF2B5EF4-FFF2-40B4-BE49-F238E27FC236}">
                <a16:creationId xmlns:a16="http://schemas.microsoft.com/office/drawing/2014/main" id="{33D06846-1319-497E-B31B-5F4F644A886E}"/>
              </a:ext>
            </a:extLst>
          </p:cNvPr>
          <p:cNvGrpSpPr/>
          <p:nvPr/>
        </p:nvGrpSpPr>
        <p:grpSpPr>
          <a:xfrm>
            <a:off x="4799856" y="972108"/>
            <a:ext cx="1742609" cy="190500"/>
            <a:chOff x="5378756" y="878988"/>
            <a:chExt cx="1742609" cy="190500"/>
          </a:xfrm>
        </p:grpSpPr>
        <p:sp>
          <p:nvSpPr>
            <p:cNvPr id="70" name="Oval 5">
              <a:extLst>
                <a:ext uri="{FF2B5EF4-FFF2-40B4-BE49-F238E27FC236}">
                  <a16:creationId xmlns:a16="http://schemas.microsoft.com/office/drawing/2014/main" id="{6B63AD77-4E11-4C4D-90BF-1E38EB63D579}"/>
                </a:ext>
              </a:extLst>
            </p:cNvPr>
            <p:cNvSpPr/>
            <p:nvPr/>
          </p:nvSpPr>
          <p:spPr>
            <a:xfrm>
              <a:off x="5378756" y="878988"/>
              <a:ext cx="190500" cy="1905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Oval 6">
              <a:extLst>
                <a:ext uri="{FF2B5EF4-FFF2-40B4-BE49-F238E27FC236}">
                  <a16:creationId xmlns:a16="http://schemas.microsoft.com/office/drawing/2014/main" id="{C6E5F5EE-C662-4569-9C73-887DFA9084F2}"/>
                </a:ext>
              </a:extLst>
            </p:cNvPr>
            <p:cNvSpPr/>
            <p:nvPr/>
          </p:nvSpPr>
          <p:spPr>
            <a:xfrm>
              <a:off x="5689906" y="878988"/>
              <a:ext cx="190500" cy="1905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Oval 7">
              <a:extLst>
                <a:ext uri="{FF2B5EF4-FFF2-40B4-BE49-F238E27FC236}">
                  <a16:creationId xmlns:a16="http://schemas.microsoft.com/office/drawing/2014/main" id="{10ADC7BA-7B5E-4AFD-B0E7-5C4673B9DEC2}"/>
                </a:ext>
              </a:extLst>
            </p:cNvPr>
            <p:cNvSpPr/>
            <p:nvPr/>
          </p:nvSpPr>
          <p:spPr>
            <a:xfrm>
              <a:off x="6000692" y="878988"/>
              <a:ext cx="190500" cy="1905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8">
              <a:extLst>
                <a:ext uri="{FF2B5EF4-FFF2-40B4-BE49-F238E27FC236}">
                  <a16:creationId xmlns:a16="http://schemas.microsoft.com/office/drawing/2014/main" id="{89213C3E-9600-45BF-B9B9-4F8F045325A5}"/>
                </a:ext>
              </a:extLst>
            </p:cNvPr>
            <p:cNvSpPr/>
            <p:nvPr/>
          </p:nvSpPr>
          <p:spPr>
            <a:xfrm>
              <a:off x="6311478" y="878988"/>
              <a:ext cx="190500" cy="190500"/>
            </a:xfrm>
            <a:prstGeom prst="ellipse">
              <a:avLst/>
            </a:prstGeom>
            <a:solidFill>
              <a:srgbClr val="F723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Oval 9">
              <a:extLst>
                <a:ext uri="{FF2B5EF4-FFF2-40B4-BE49-F238E27FC236}">
                  <a16:creationId xmlns:a16="http://schemas.microsoft.com/office/drawing/2014/main" id="{7984E0C4-1015-4444-9612-E9013FE65B8A}"/>
                </a:ext>
              </a:extLst>
            </p:cNvPr>
            <p:cNvSpPr/>
            <p:nvPr/>
          </p:nvSpPr>
          <p:spPr>
            <a:xfrm>
              <a:off x="6622745" y="878988"/>
              <a:ext cx="190500" cy="1905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9">
              <a:extLst>
                <a:ext uri="{FF2B5EF4-FFF2-40B4-BE49-F238E27FC236}">
                  <a16:creationId xmlns:a16="http://schemas.microsoft.com/office/drawing/2014/main" id="{98239B62-49D4-43F7-941A-55BCEA129781}"/>
                </a:ext>
              </a:extLst>
            </p:cNvPr>
            <p:cNvSpPr/>
            <p:nvPr/>
          </p:nvSpPr>
          <p:spPr>
            <a:xfrm>
              <a:off x="6930865" y="878988"/>
              <a:ext cx="190500" cy="190500"/>
            </a:xfrm>
            <a:prstGeom prst="ellipse">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3" name="CALMS">
            <a:extLst>
              <a:ext uri="{FF2B5EF4-FFF2-40B4-BE49-F238E27FC236}">
                <a16:creationId xmlns:a16="http://schemas.microsoft.com/office/drawing/2014/main" id="{753F36A7-CE75-4A5D-8BAE-8679B764F925}"/>
              </a:ext>
            </a:extLst>
          </p:cNvPr>
          <p:cNvSpPr txBox="1"/>
          <p:nvPr/>
        </p:nvSpPr>
        <p:spPr>
          <a:xfrm>
            <a:off x="-358524" y="133445"/>
            <a:ext cx="12191999" cy="707886"/>
          </a:xfrm>
          <a:prstGeom prst="rect">
            <a:avLst/>
          </a:prstGeom>
          <a:noFill/>
          <a:ln>
            <a:noFill/>
          </a:ln>
        </p:spPr>
        <p:txBody>
          <a:bodyPr wrap="square" rtlCol="0">
            <a:spAutoFit/>
          </a:bodyPr>
          <a:lstStyle/>
          <a:p>
            <a:pPr algn="ctr"/>
            <a:r>
              <a:rPr lang="en-US" sz="4000" dirty="0">
                <a:solidFill>
                  <a:schemeClr val="bg1">
                    <a:lumMod val="65000"/>
                  </a:schemeClr>
                </a:solidFill>
                <a:latin typeface="Tw Cen MT" panose="020B0602020104020603" pitchFamily="34" charset="0"/>
              </a:rPr>
              <a:t>C o n t e x t e</a:t>
            </a:r>
          </a:p>
        </p:txBody>
      </p:sp>
      <p:grpSp>
        <p:nvGrpSpPr>
          <p:cNvPr id="90" name="Groupe 89">
            <a:extLst>
              <a:ext uri="{FF2B5EF4-FFF2-40B4-BE49-F238E27FC236}">
                <a16:creationId xmlns:a16="http://schemas.microsoft.com/office/drawing/2014/main" id="{CAB5AB80-1D70-4727-BBB3-87D713C7D3AB}"/>
              </a:ext>
            </a:extLst>
          </p:cNvPr>
          <p:cNvGrpSpPr/>
          <p:nvPr/>
        </p:nvGrpSpPr>
        <p:grpSpPr>
          <a:xfrm>
            <a:off x="7315424" y="2013076"/>
            <a:ext cx="1944217" cy="2137094"/>
            <a:chOff x="8832304" y="2317522"/>
            <a:chExt cx="1944217" cy="2137094"/>
          </a:xfrm>
        </p:grpSpPr>
        <p:sp>
          <p:nvSpPr>
            <p:cNvPr id="91" name="Title 3">
              <a:extLst>
                <a:ext uri="{FF2B5EF4-FFF2-40B4-BE49-F238E27FC236}">
                  <a16:creationId xmlns:a16="http://schemas.microsoft.com/office/drawing/2014/main" id="{22DEE77E-E4E8-4BEE-B3E0-A4D217D81E77}"/>
                </a:ext>
              </a:extLst>
            </p:cNvPr>
            <p:cNvSpPr txBox="1">
              <a:spLocks/>
            </p:cNvSpPr>
            <p:nvPr/>
          </p:nvSpPr>
          <p:spPr>
            <a:xfrm>
              <a:off x="8832304" y="2317522"/>
              <a:ext cx="1944217" cy="1403091"/>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gn="ctr"/>
              <a:r>
                <a:rPr lang="fr-FR" sz="1800"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ea typeface="+mn-ea"/>
                  <a:cs typeface="+mn-cs"/>
                </a:rPr>
                <a:t>L’intégration et  « digital networking » de procédés </a:t>
              </a:r>
              <a:endParaRPr lang="en-GB" sz="1800"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ea typeface="+mn-ea"/>
                <a:cs typeface="+mn-cs"/>
              </a:endParaRPr>
            </a:p>
          </p:txBody>
        </p:sp>
        <p:grpSp>
          <p:nvGrpSpPr>
            <p:cNvPr id="92" name="Group 567">
              <a:extLst>
                <a:ext uri="{FF2B5EF4-FFF2-40B4-BE49-F238E27FC236}">
                  <a16:creationId xmlns:a16="http://schemas.microsoft.com/office/drawing/2014/main" id="{8EF7DC1F-B473-4C91-B100-9BC97B3407C1}"/>
                </a:ext>
              </a:extLst>
            </p:cNvPr>
            <p:cNvGrpSpPr/>
            <p:nvPr/>
          </p:nvGrpSpPr>
          <p:grpSpPr>
            <a:xfrm>
              <a:off x="9263143" y="3429001"/>
              <a:ext cx="1082539" cy="1025615"/>
              <a:chOff x="1479198" y="3406858"/>
              <a:chExt cx="796925" cy="746125"/>
            </a:xfrm>
          </p:grpSpPr>
          <p:sp>
            <p:nvSpPr>
              <p:cNvPr id="93" name="Freeform 89">
                <a:extLst>
                  <a:ext uri="{FF2B5EF4-FFF2-40B4-BE49-F238E27FC236}">
                    <a16:creationId xmlns:a16="http://schemas.microsoft.com/office/drawing/2014/main" id="{D8EBC918-5A47-43E7-86B3-8E3E921E94DE}"/>
                  </a:ext>
                </a:extLst>
              </p:cNvPr>
              <p:cNvSpPr>
                <a:spLocks/>
              </p:cNvSpPr>
              <p:nvPr/>
            </p:nvSpPr>
            <p:spPr bwMode="auto">
              <a:xfrm>
                <a:off x="1479198" y="3406858"/>
                <a:ext cx="796925" cy="746125"/>
              </a:xfrm>
              <a:custGeom>
                <a:avLst/>
                <a:gdLst>
                  <a:gd name="T0" fmla="*/ 23 w 414"/>
                  <a:gd name="T1" fmla="*/ 234 h 385"/>
                  <a:gd name="T2" fmla="*/ 165 w 414"/>
                  <a:gd name="T3" fmla="*/ 20 h 385"/>
                  <a:gd name="T4" fmla="*/ 391 w 414"/>
                  <a:gd name="T5" fmla="*/ 163 h 385"/>
                  <a:gd name="T6" fmla="*/ 247 w 414"/>
                  <a:gd name="T7" fmla="*/ 365 h 385"/>
                  <a:gd name="T8" fmla="*/ 23 w 414"/>
                  <a:gd name="T9" fmla="*/ 234 h 385"/>
                </a:gdLst>
                <a:ahLst/>
                <a:cxnLst>
                  <a:cxn ang="0">
                    <a:pos x="T0" y="T1"/>
                  </a:cxn>
                  <a:cxn ang="0">
                    <a:pos x="T2" y="T3"/>
                  </a:cxn>
                  <a:cxn ang="0">
                    <a:pos x="T4" y="T5"/>
                  </a:cxn>
                  <a:cxn ang="0">
                    <a:pos x="T6" y="T7"/>
                  </a:cxn>
                  <a:cxn ang="0">
                    <a:pos x="T8" y="T9"/>
                  </a:cxn>
                </a:cxnLst>
                <a:rect l="0" t="0" r="r" b="b"/>
                <a:pathLst>
                  <a:path w="414" h="385">
                    <a:moveTo>
                      <a:pt x="23" y="234"/>
                    </a:moveTo>
                    <a:cubicBezTo>
                      <a:pt x="0" y="136"/>
                      <a:pt x="64" y="40"/>
                      <a:pt x="165" y="20"/>
                    </a:cubicBezTo>
                    <a:cubicBezTo>
                      <a:pt x="267" y="0"/>
                      <a:pt x="368" y="64"/>
                      <a:pt x="391" y="163"/>
                    </a:cubicBezTo>
                    <a:cubicBezTo>
                      <a:pt x="414" y="261"/>
                      <a:pt x="349" y="346"/>
                      <a:pt x="247" y="365"/>
                    </a:cubicBezTo>
                    <a:cubicBezTo>
                      <a:pt x="145" y="385"/>
                      <a:pt x="47" y="333"/>
                      <a:pt x="23" y="234"/>
                    </a:cubicBezTo>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b="1" dirty="0"/>
              </a:p>
            </p:txBody>
          </p:sp>
          <p:sp>
            <p:nvSpPr>
              <p:cNvPr id="94" name="Freeform 90">
                <a:extLst>
                  <a:ext uri="{FF2B5EF4-FFF2-40B4-BE49-F238E27FC236}">
                    <a16:creationId xmlns:a16="http://schemas.microsoft.com/office/drawing/2014/main" id="{5089C31E-5C13-4CF9-BFE6-FAD218DC8BBD}"/>
                  </a:ext>
                </a:extLst>
              </p:cNvPr>
              <p:cNvSpPr>
                <a:spLocks/>
              </p:cNvSpPr>
              <p:nvPr/>
            </p:nvSpPr>
            <p:spPr bwMode="auto">
              <a:xfrm>
                <a:off x="1614534" y="3604143"/>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b="1" dirty="0"/>
              </a:p>
            </p:txBody>
          </p:sp>
          <p:sp>
            <p:nvSpPr>
              <p:cNvPr id="95" name="Freeform 91">
                <a:extLst>
                  <a:ext uri="{FF2B5EF4-FFF2-40B4-BE49-F238E27FC236}">
                    <a16:creationId xmlns:a16="http://schemas.microsoft.com/office/drawing/2014/main" id="{AC1B9DCA-246D-49BB-B605-2C21070C62AC}"/>
                  </a:ext>
                </a:extLst>
              </p:cNvPr>
              <p:cNvSpPr>
                <a:spLocks/>
              </p:cNvSpPr>
              <p:nvPr/>
            </p:nvSpPr>
            <p:spPr bwMode="auto">
              <a:xfrm>
                <a:off x="1566908" y="3739080"/>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b="1" dirty="0"/>
              </a:p>
            </p:txBody>
          </p:sp>
          <p:sp>
            <p:nvSpPr>
              <p:cNvPr id="96" name="Freeform 92">
                <a:extLst>
                  <a:ext uri="{FF2B5EF4-FFF2-40B4-BE49-F238E27FC236}">
                    <a16:creationId xmlns:a16="http://schemas.microsoft.com/office/drawing/2014/main" id="{7C75A914-11C9-4573-AF27-A03026B0BF46}"/>
                  </a:ext>
                </a:extLst>
              </p:cNvPr>
              <p:cNvSpPr>
                <a:spLocks/>
              </p:cNvSpPr>
              <p:nvPr/>
            </p:nvSpPr>
            <p:spPr bwMode="auto">
              <a:xfrm>
                <a:off x="1992358" y="3643831"/>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1" dirty="0"/>
              </a:p>
            </p:txBody>
          </p:sp>
          <p:sp>
            <p:nvSpPr>
              <p:cNvPr id="97" name="Freeform 93">
                <a:extLst>
                  <a:ext uri="{FF2B5EF4-FFF2-40B4-BE49-F238E27FC236}">
                    <a16:creationId xmlns:a16="http://schemas.microsoft.com/office/drawing/2014/main" id="{29F96CE9-6CFA-41B2-9FA2-617DA1A396F5}"/>
                  </a:ext>
                </a:extLst>
              </p:cNvPr>
              <p:cNvSpPr>
                <a:spLocks/>
              </p:cNvSpPr>
              <p:nvPr/>
            </p:nvSpPr>
            <p:spPr bwMode="auto">
              <a:xfrm>
                <a:off x="1946322" y="3774006"/>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1" dirty="0"/>
              </a:p>
            </p:txBody>
          </p:sp>
          <p:sp>
            <p:nvSpPr>
              <p:cNvPr id="98" name="Freeform 94">
                <a:extLst>
                  <a:ext uri="{FF2B5EF4-FFF2-40B4-BE49-F238E27FC236}">
                    <a16:creationId xmlns:a16="http://schemas.microsoft.com/office/drawing/2014/main" id="{6D54D58B-15D0-4154-9947-09B8C61FD308}"/>
                  </a:ext>
                </a:extLst>
              </p:cNvPr>
              <p:cNvSpPr>
                <a:spLocks/>
              </p:cNvSpPr>
              <p:nvPr/>
            </p:nvSpPr>
            <p:spPr bwMode="auto">
              <a:xfrm>
                <a:off x="1787572" y="3604143"/>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99" name="Freeform 95">
                <a:extLst>
                  <a:ext uri="{FF2B5EF4-FFF2-40B4-BE49-F238E27FC236}">
                    <a16:creationId xmlns:a16="http://schemas.microsoft.com/office/drawing/2014/main" id="{DA6971A0-08DB-49D9-9892-47DC1C544180}"/>
                  </a:ext>
                </a:extLst>
              </p:cNvPr>
              <p:cNvSpPr>
                <a:spLocks/>
              </p:cNvSpPr>
              <p:nvPr/>
            </p:nvSpPr>
            <p:spPr bwMode="auto">
              <a:xfrm>
                <a:off x="1714546" y="3764874"/>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grpSp>
      </p:grpSp>
      <p:grpSp>
        <p:nvGrpSpPr>
          <p:cNvPr id="100" name="Groupe 99">
            <a:extLst>
              <a:ext uri="{FF2B5EF4-FFF2-40B4-BE49-F238E27FC236}">
                <a16:creationId xmlns:a16="http://schemas.microsoft.com/office/drawing/2014/main" id="{077E4A73-F9B3-4887-8898-FCCA3F16CD56}"/>
              </a:ext>
            </a:extLst>
          </p:cNvPr>
          <p:cNvGrpSpPr/>
          <p:nvPr/>
        </p:nvGrpSpPr>
        <p:grpSpPr>
          <a:xfrm>
            <a:off x="5709225" y="2254520"/>
            <a:ext cx="1499128" cy="1922180"/>
            <a:chOff x="6588383" y="3013768"/>
            <a:chExt cx="1499128" cy="1922180"/>
          </a:xfrm>
        </p:grpSpPr>
        <p:sp>
          <p:nvSpPr>
            <p:cNvPr id="101" name="Rectangle 100">
              <a:extLst>
                <a:ext uri="{FF2B5EF4-FFF2-40B4-BE49-F238E27FC236}">
                  <a16:creationId xmlns:a16="http://schemas.microsoft.com/office/drawing/2014/main" id="{1F8FCA55-F0D0-4FA3-A6A8-E15336C30504}"/>
                </a:ext>
              </a:extLst>
            </p:cNvPr>
            <p:cNvSpPr/>
            <p:nvPr/>
          </p:nvSpPr>
          <p:spPr>
            <a:xfrm>
              <a:off x="6588383" y="3013768"/>
              <a:ext cx="1499128" cy="369332"/>
            </a:xfrm>
            <a:prstGeom prst="rect">
              <a:avLst/>
            </a:prstGeom>
          </p:spPr>
          <p:txBody>
            <a:bodyPr wrap="none">
              <a:spAutoFit/>
            </a:bodyPr>
            <a:lstStyle/>
            <a:p>
              <a:r>
                <a:rPr lang="fr-FR"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Customisation</a:t>
              </a:r>
              <a:endParaRPr lang="en-GB"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endParaRPr>
            </a:p>
          </p:txBody>
        </p:sp>
        <p:grpSp>
          <p:nvGrpSpPr>
            <p:cNvPr id="102" name="Groupe 101">
              <a:extLst>
                <a:ext uri="{FF2B5EF4-FFF2-40B4-BE49-F238E27FC236}">
                  <a16:creationId xmlns:a16="http://schemas.microsoft.com/office/drawing/2014/main" id="{CD2FE0B4-9A04-49A2-954E-1129B005C541}"/>
                </a:ext>
              </a:extLst>
            </p:cNvPr>
            <p:cNvGrpSpPr>
              <a:grpSpLocks noChangeAspect="1"/>
            </p:cNvGrpSpPr>
            <p:nvPr/>
          </p:nvGrpSpPr>
          <p:grpSpPr>
            <a:xfrm>
              <a:off x="6763122" y="3852494"/>
              <a:ext cx="1149651" cy="1083454"/>
              <a:chOff x="2205500" y="2240515"/>
              <a:chExt cx="912796" cy="860237"/>
            </a:xfrm>
          </p:grpSpPr>
          <p:sp>
            <p:nvSpPr>
              <p:cNvPr id="103" name="Freeform 217">
                <a:extLst>
                  <a:ext uri="{FF2B5EF4-FFF2-40B4-BE49-F238E27FC236}">
                    <a16:creationId xmlns:a16="http://schemas.microsoft.com/office/drawing/2014/main" id="{284288DF-8A37-42EE-AB8D-184263E87CDE}"/>
                  </a:ext>
                </a:extLst>
              </p:cNvPr>
              <p:cNvSpPr>
                <a:spLocks noChangeAspect="1"/>
              </p:cNvSpPr>
              <p:nvPr/>
            </p:nvSpPr>
            <p:spPr bwMode="auto">
              <a:xfrm>
                <a:off x="2205500" y="2240515"/>
                <a:ext cx="912796" cy="860237"/>
              </a:xfrm>
              <a:custGeom>
                <a:avLst/>
                <a:gdLst>
                  <a:gd name="T0" fmla="*/ 62 w 430"/>
                  <a:gd name="T1" fmla="*/ 315 h 402"/>
                  <a:gd name="T2" fmla="*/ 103 w 430"/>
                  <a:gd name="T3" fmla="*/ 60 h 402"/>
                  <a:gd name="T4" fmla="*/ 368 w 430"/>
                  <a:gd name="T5" fmla="*/ 98 h 402"/>
                  <a:gd name="T6" fmla="*/ 320 w 430"/>
                  <a:gd name="T7" fmla="*/ 342 h 402"/>
                  <a:gd name="T8" fmla="*/ 62 w 430"/>
                  <a:gd name="T9" fmla="*/ 315 h 402"/>
                </a:gdLst>
                <a:ahLst/>
                <a:cxnLst>
                  <a:cxn ang="0">
                    <a:pos x="T0" y="T1"/>
                  </a:cxn>
                  <a:cxn ang="0">
                    <a:pos x="T2" y="T3"/>
                  </a:cxn>
                  <a:cxn ang="0">
                    <a:pos x="T4" y="T5"/>
                  </a:cxn>
                  <a:cxn ang="0">
                    <a:pos x="T6" y="T7"/>
                  </a:cxn>
                  <a:cxn ang="0">
                    <a:pos x="T8" y="T9"/>
                  </a:cxn>
                </a:cxnLst>
                <a:rect l="0" t="0" r="r" b="b"/>
                <a:pathLst>
                  <a:path w="430" h="402">
                    <a:moveTo>
                      <a:pt x="62" y="315"/>
                    </a:moveTo>
                    <a:cubicBezTo>
                      <a:pt x="0" y="234"/>
                      <a:pt x="18" y="120"/>
                      <a:pt x="103" y="60"/>
                    </a:cubicBezTo>
                    <a:cubicBezTo>
                      <a:pt x="188" y="0"/>
                      <a:pt x="306" y="17"/>
                      <a:pt x="368" y="98"/>
                    </a:cubicBezTo>
                    <a:cubicBezTo>
                      <a:pt x="430" y="178"/>
                      <a:pt x="405" y="282"/>
                      <a:pt x="320" y="342"/>
                    </a:cubicBezTo>
                    <a:cubicBezTo>
                      <a:pt x="235" y="402"/>
                      <a:pt x="123" y="395"/>
                      <a:pt x="62" y="315"/>
                    </a:cubicBezTo>
                  </a:path>
                </a:pathLst>
              </a:custGeom>
              <a:solidFill>
                <a:srgbClr val="0070C0"/>
              </a:solidFill>
              <a:ln>
                <a:noFill/>
              </a:ln>
            </p:spPr>
            <p:txBody>
              <a:bodyPr vert="horz" wrap="square" lIns="74295" tIns="37148" rIns="74295" bIns="37148" numCol="1" anchor="t" anchorCtr="0" compatLnSpc="1">
                <a:prstTxWarp prst="textNoShape">
                  <a:avLst/>
                </a:prstTxWarp>
              </a:bodyPr>
              <a:lstStyle/>
              <a:p>
                <a:pPr defTabSz="742950"/>
                <a:endParaRPr lang="en-US" sz="1600" b="1" dirty="0">
                  <a:solidFill>
                    <a:srgbClr val="000000"/>
                  </a:solidFill>
                  <a:latin typeface="Verdana"/>
                </a:endParaRPr>
              </a:p>
            </p:txBody>
          </p:sp>
          <p:grpSp>
            <p:nvGrpSpPr>
              <p:cNvPr id="104" name="Group 892">
                <a:extLst>
                  <a:ext uri="{FF2B5EF4-FFF2-40B4-BE49-F238E27FC236}">
                    <a16:creationId xmlns:a16="http://schemas.microsoft.com/office/drawing/2014/main" id="{22B4F6C1-435F-4DF1-A588-AFD3B563D3F7}"/>
                  </a:ext>
                </a:extLst>
              </p:cNvPr>
              <p:cNvGrpSpPr/>
              <p:nvPr/>
            </p:nvGrpSpPr>
            <p:grpSpPr>
              <a:xfrm>
                <a:off x="2411880" y="2453150"/>
                <a:ext cx="448691" cy="445173"/>
                <a:chOff x="11294051" y="4875358"/>
                <a:chExt cx="894248" cy="887239"/>
              </a:xfrm>
              <a:solidFill>
                <a:schemeClr val="bg1"/>
              </a:solidFill>
            </p:grpSpPr>
            <p:sp>
              <p:nvSpPr>
                <p:cNvPr id="105" name="Freeform 34">
                  <a:extLst>
                    <a:ext uri="{FF2B5EF4-FFF2-40B4-BE49-F238E27FC236}">
                      <a16:creationId xmlns:a16="http://schemas.microsoft.com/office/drawing/2014/main" id="{38AB37A0-B6BB-4A7D-B8A8-B5FAD3E2980A}"/>
                    </a:ext>
                  </a:extLst>
                </p:cNvPr>
                <p:cNvSpPr>
                  <a:spLocks/>
                </p:cNvSpPr>
                <p:nvPr/>
              </p:nvSpPr>
              <p:spPr bwMode="auto">
                <a:xfrm>
                  <a:off x="11350029" y="5374954"/>
                  <a:ext cx="383445" cy="387643"/>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2FD6D5"/>
                </a:solidFill>
                <a:ln>
                  <a:noFill/>
                </a:ln>
              </p:spPr>
              <p:txBody>
                <a:bodyPr vert="horz" wrap="square" lIns="91440" tIns="45720" rIns="91440" bIns="45720" numCol="1" anchor="t" anchorCtr="0" compatLnSpc="1">
                  <a:prstTxWarp prst="textNoShape">
                    <a:avLst/>
                  </a:prstTxWarp>
                </a:bodyPr>
                <a:lstStyle/>
                <a:p>
                  <a:endParaRPr lang="en-IE" b="1" dirty="0"/>
                </a:p>
              </p:txBody>
            </p:sp>
            <p:sp>
              <p:nvSpPr>
                <p:cNvPr id="106" name="Freeform 35">
                  <a:extLst>
                    <a:ext uri="{FF2B5EF4-FFF2-40B4-BE49-F238E27FC236}">
                      <a16:creationId xmlns:a16="http://schemas.microsoft.com/office/drawing/2014/main" id="{1061BDA0-1816-4259-90C3-ACC407882083}"/>
                    </a:ext>
                  </a:extLst>
                </p:cNvPr>
                <p:cNvSpPr>
                  <a:spLocks/>
                </p:cNvSpPr>
                <p:nvPr/>
              </p:nvSpPr>
              <p:spPr bwMode="auto">
                <a:xfrm>
                  <a:off x="11566943" y="5148249"/>
                  <a:ext cx="607354" cy="607356"/>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grpFill/>
                <a:ln>
                  <a:noFill/>
                </a:ln>
              </p:spPr>
              <p:txBody>
                <a:bodyPr vert="horz" wrap="square" lIns="91440" tIns="45720" rIns="91440" bIns="45720" numCol="1" anchor="t" anchorCtr="0" compatLnSpc="1">
                  <a:prstTxWarp prst="textNoShape">
                    <a:avLst/>
                  </a:prstTxWarp>
                </a:bodyPr>
                <a:lstStyle/>
                <a:p>
                  <a:endParaRPr lang="en-IE" b="1" dirty="0"/>
                </a:p>
              </p:txBody>
            </p:sp>
            <p:sp>
              <p:nvSpPr>
                <p:cNvPr id="107" name="Freeform 36">
                  <a:extLst>
                    <a:ext uri="{FF2B5EF4-FFF2-40B4-BE49-F238E27FC236}">
                      <a16:creationId xmlns:a16="http://schemas.microsoft.com/office/drawing/2014/main" id="{F887899E-C806-4492-9FD9-6397142653F6}"/>
                    </a:ext>
                  </a:extLst>
                </p:cNvPr>
                <p:cNvSpPr>
                  <a:spLocks/>
                </p:cNvSpPr>
                <p:nvPr/>
              </p:nvSpPr>
              <p:spPr bwMode="auto">
                <a:xfrm>
                  <a:off x="11793659" y="4915939"/>
                  <a:ext cx="394640" cy="398841"/>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2FD6D5"/>
                </a:solidFill>
                <a:ln>
                  <a:noFill/>
                </a:ln>
              </p:spPr>
              <p:txBody>
                <a:bodyPr vert="horz" wrap="square" lIns="91440" tIns="45720" rIns="91440" bIns="45720" numCol="1" anchor="t" anchorCtr="0" compatLnSpc="1">
                  <a:prstTxWarp prst="textNoShape">
                    <a:avLst/>
                  </a:prstTxWarp>
                </a:bodyPr>
                <a:lstStyle/>
                <a:p>
                  <a:endParaRPr lang="en-IE" b="1" dirty="0"/>
                </a:p>
              </p:txBody>
            </p:sp>
            <p:sp>
              <p:nvSpPr>
                <p:cNvPr id="108" name="Freeform 37">
                  <a:extLst>
                    <a:ext uri="{FF2B5EF4-FFF2-40B4-BE49-F238E27FC236}">
                      <a16:creationId xmlns:a16="http://schemas.microsoft.com/office/drawing/2014/main" id="{D1E617CD-E7D9-4076-953E-01C76C286E9C}"/>
                    </a:ext>
                  </a:extLst>
                </p:cNvPr>
                <p:cNvSpPr>
                  <a:spLocks/>
                </p:cNvSpPr>
                <p:nvPr/>
              </p:nvSpPr>
              <p:spPr bwMode="auto">
                <a:xfrm>
                  <a:off x="11294051" y="4875358"/>
                  <a:ext cx="424029" cy="424028"/>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b="1" dirty="0"/>
                </a:p>
              </p:txBody>
            </p:sp>
          </p:grpSp>
        </p:grpSp>
      </p:grpSp>
      <p:grpSp>
        <p:nvGrpSpPr>
          <p:cNvPr id="109" name="Groupe 108">
            <a:extLst>
              <a:ext uri="{FF2B5EF4-FFF2-40B4-BE49-F238E27FC236}">
                <a16:creationId xmlns:a16="http://schemas.microsoft.com/office/drawing/2014/main" id="{CA22942D-CC12-4B82-8C77-F2E9523D4225}"/>
              </a:ext>
            </a:extLst>
          </p:cNvPr>
          <p:cNvGrpSpPr/>
          <p:nvPr/>
        </p:nvGrpSpPr>
        <p:grpSpPr>
          <a:xfrm>
            <a:off x="3736001" y="2254520"/>
            <a:ext cx="1866152" cy="1927059"/>
            <a:chOff x="6246253" y="1145906"/>
            <a:chExt cx="1866152" cy="1927059"/>
          </a:xfrm>
        </p:grpSpPr>
        <p:sp>
          <p:nvSpPr>
            <p:cNvPr id="110" name="Rectangle 109">
              <a:extLst>
                <a:ext uri="{FF2B5EF4-FFF2-40B4-BE49-F238E27FC236}">
                  <a16:creationId xmlns:a16="http://schemas.microsoft.com/office/drawing/2014/main" id="{EA87149D-FF75-4D4E-93FA-C165B61420A7}"/>
                </a:ext>
              </a:extLst>
            </p:cNvPr>
            <p:cNvSpPr/>
            <p:nvPr/>
          </p:nvSpPr>
          <p:spPr>
            <a:xfrm>
              <a:off x="6246253" y="1145906"/>
              <a:ext cx="1866152" cy="369332"/>
            </a:xfrm>
            <a:prstGeom prst="rect">
              <a:avLst/>
            </a:prstGeom>
          </p:spPr>
          <p:txBody>
            <a:bodyPr wrap="none">
              <a:spAutoFit/>
            </a:bodyPr>
            <a:lstStyle/>
            <a:p>
              <a:r>
                <a:rPr lang="fr-FR"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 Time-to-</a:t>
              </a:r>
              <a:r>
                <a:rPr lang="fr-FR" b="1" dirty="0" err="1">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market</a:t>
              </a:r>
              <a:r>
                <a:rPr lang="fr-FR"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 »</a:t>
              </a:r>
              <a:endParaRPr lang="en-GB"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endParaRPr>
            </a:p>
          </p:txBody>
        </p:sp>
        <p:grpSp>
          <p:nvGrpSpPr>
            <p:cNvPr id="111" name="Groupe 110">
              <a:extLst>
                <a:ext uri="{FF2B5EF4-FFF2-40B4-BE49-F238E27FC236}">
                  <a16:creationId xmlns:a16="http://schemas.microsoft.com/office/drawing/2014/main" id="{3985E6BF-C427-4C78-956F-86202D216D4D}"/>
                </a:ext>
              </a:extLst>
            </p:cNvPr>
            <p:cNvGrpSpPr>
              <a:grpSpLocks noChangeAspect="1"/>
            </p:cNvGrpSpPr>
            <p:nvPr/>
          </p:nvGrpSpPr>
          <p:grpSpPr>
            <a:xfrm>
              <a:off x="6597402" y="1964573"/>
              <a:ext cx="1163856" cy="1108392"/>
              <a:chOff x="3551495" y="1939925"/>
              <a:chExt cx="871538" cy="811213"/>
            </a:xfrm>
          </p:grpSpPr>
          <p:sp>
            <p:nvSpPr>
              <p:cNvPr id="112" name="Freeform 24">
                <a:extLst>
                  <a:ext uri="{FF2B5EF4-FFF2-40B4-BE49-F238E27FC236}">
                    <a16:creationId xmlns:a16="http://schemas.microsoft.com/office/drawing/2014/main" id="{082BC620-B39D-4D6A-8357-DCFA01F4A2C1}"/>
                  </a:ext>
                </a:extLst>
              </p:cNvPr>
              <p:cNvSpPr>
                <a:spLocks/>
              </p:cNvSpPr>
              <p:nvPr/>
            </p:nvSpPr>
            <p:spPr bwMode="auto">
              <a:xfrm>
                <a:off x="3551495" y="1939925"/>
                <a:ext cx="871538" cy="811213"/>
              </a:xfrm>
              <a:custGeom>
                <a:avLst/>
                <a:gdLst>
                  <a:gd name="T0" fmla="*/ 33 w 232"/>
                  <a:gd name="T1" fmla="*/ 169 h 216"/>
                  <a:gd name="T2" fmla="*/ 56 w 232"/>
                  <a:gd name="T3" fmla="*/ 32 h 216"/>
                  <a:gd name="T4" fmla="*/ 199 w 232"/>
                  <a:gd name="T5" fmla="*/ 52 h 216"/>
                  <a:gd name="T6" fmla="*/ 173 w 232"/>
                  <a:gd name="T7" fmla="*/ 184 h 216"/>
                  <a:gd name="T8" fmla="*/ 33 w 232"/>
                  <a:gd name="T9" fmla="*/ 169 h 216"/>
                </a:gdLst>
                <a:ahLst/>
                <a:cxnLst>
                  <a:cxn ang="0">
                    <a:pos x="T0" y="T1"/>
                  </a:cxn>
                  <a:cxn ang="0">
                    <a:pos x="T2" y="T3"/>
                  </a:cxn>
                  <a:cxn ang="0">
                    <a:pos x="T4" y="T5"/>
                  </a:cxn>
                  <a:cxn ang="0">
                    <a:pos x="T6" y="T7"/>
                  </a:cxn>
                  <a:cxn ang="0">
                    <a:pos x="T8" y="T9"/>
                  </a:cxn>
                </a:cxnLst>
                <a:rect l="0" t="0" r="r" b="b"/>
                <a:pathLst>
                  <a:path w="232" h="216">
                    <a:moveTo>
                      <a:pt x="33" y="169"/>
                    </a:moveTo>
                    <a:cubicBezTo>
                      <a:pt x="0" y="126"/>
                      <a:pt x="10" y="64"/>
                      <a:pt x="56" y="32"/>
                    </a:cubicBezTo>
                    <a:cubicBezTo>
                      <a:pt x="101" y="0"/>
                      <a:pt x="166" y="9"/>
                      <a:pt x="199" y="52"/>
                    </a:cubicBezTo>
                    <a:cubicBezTo>
                      <a:pt x="232" y="96"/>
                      <a:pt x="219" y="152"/>
                      <a:pt x="173" y="184"/>
                    </a:cubicBezTo>
                    <a:cubicBezTo>
                      <a:pt x="127" y="216"/>
                      <a:pt x="67" y="213"/>
                      <a:pt x="33" y="169"/>
                    </a:cubicBezTo>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grpSp>
            <p:nvGrpSpPr>
              <p:cNvPr id="113" name="Groupe 112">
                <a:extLst>
                  <a:ext uri="{FF2B5EF4-FFF2-40B4-BE49-F238E27FC236}">
                    <a16:creationId xmlns:a16="http://schemas.microsoft.com/office/drawing/2014/main" id="{E264B930-9436-4205-A2D3-6D2CF8ECB165}"/>
                  </a:ext>
                </a:extLst>
              </p:cNvPr>
              <p:cNvGrpSpPr/>
              <p:nvPr/>
            </p:nvGrpSpPr>
            <p:grpSpPr>
              <a:xfrm>
                <a:off x="3822341" y="2136217"/>
                <a:ext cx="300188" cy="393865"/>
                <a:chOff x="3822341" y="2136217"/>
                <a:chExt cx="300188" cy="393865"/>
              </a:xfrm>
            </p:grpSpPr>
            <p:sp>
              <p:nvSpPr>
                <p:cNvPr id="114" name="Freeform 110">
                  <a:extLst>
                    <a:ext uri="{FF2B5EF4-FFF2-40B4-BE49-F238E27FC236}">
                      <a16:creationId xmlns:a16="http://schemas.microsoft.com/office/drawing/2014/main" id="{36505497-E0E2-4C12-B438-BFBCCABFAFA0}"/>
                    </a:ext>
                  </a:extLst>
                </p:cNvPr>
                <p:cNvSpPr>
                  <a:spLocks/>
                </p:cNvSpPr>
                <p:nvPr/>
              </p:nvSpPr>
              <p:spPr bwMode="auto">
                <a:xfrm>
                  <a:off x="3822341" y="2203057"/>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115" name="Freeform 111">
                  <a:extLst>
                    <a:ext uri="{FF2B5EF4-FFF2-40B4-BE49-F238E27FC236}">
                      <a16:creationId xmlns:a16="http://schemas.microsoft.com/office/drawing/2014/main" id="{82E87B24-D2B6-4763-AD27-F00D9861E507}"/>
                    </a:ext>
                  </a:extLst>
                </p:cNvPr>
                <p:cNvSpPr>
                  <a:spLocks/>
                </p:cNvSpPr>
                <p:nvPr/>
              </p:nvSpPr>
              <p:spPr bwMode="auto">
                <a:xfrm>
                  <a:off x="4063791" y="2206564"/>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16" name="Freeform 112">
                  <a:extLst>
                    <a:ext uri="{FF2B5EF4-FFF2-40B4-BE49-F238E27FC236}">
                      <a16:creationId xmlns:a16="http://schemas.microsoft.com/office/drawing/2014/main" id="{6952C151-769F-41C6-9E9C-304AE12690E3}"/>
                    </a:ext>
                  </a:extLst>
                </p:cNvPr>
                <p:cNvSpPr>
                  <a:spLocks noEditPoints="1"/>
                </p:cNvSpPr>
                <p:nvPr/>
              </p:nvSpPr>
              <p:spPr bwMode="auto">
                <a:xfrm>
                  <a:off x="3927055" y="2136217"/>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117" name="Freeform 113">
                  <a:extLst>
                    <a:ext uri="{FF2B5EF4-FFF2-40B4-BE49-F238E27FC236}">
                      <a16:creationId xmlns:a16="http://schemas.microsoft.com/office/drawing/2014/main" id="{E4DA0930-7507-4F9D-A2ED-48A8E43596A7}"/>
                    </a:ext>
                  </a:extLst>
                </p:cNvPr>
                <p:cNvSpPr>
                  <a:spLocks/>
                </p:cNvSpPr>
                <p:nvPr/>
              </p:nvSpPr>
              <p:spPr bwMode="auto">
                <a:xfrm>
                  <a:off x="3920896" y="2265434"/>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grpSp>
        </p:grpSp>
      </p:grpSp>
      <p:sp>
        <p:nvSpPr>
          <p:cNvPr id="3" name="Rectangle 2">
            <a:extLst>
              <a:ext uri="{FF2B5EF4-FFF2-40B4-BE49-F238E27FC236}">
                <a16:creationId xmlns:a16="http://schemas.microsoft.com/office/drawing/2014/main" id="{B80EE8DB-48FB-4368-9354-C2043B47A51A}"/>
              </a:ext>
            </a:extLst>
          </p:cNvPr>
          <p:cNvSpPr/>
          <p:nvPr/>
        </p:nvSpPr>
        <p:spPr>
          <a:xfrm>
            <a:off x="4777660" y="4169661"/>
            <a:ext cx="3408975" cy="1015663"/>
          </a:xfrm>
          <a:prstGeom prst="rect">
            <a:avLst/>
          </a:prstGeom>
        </p:spPr>
        <p:txBody>
          <a:bodyPr wrap="square">
            <a:spAutoFit/>
          </a:bodyPr>
          <a:lstStyle/>
          <a:p>
            <a:pPr algn="ctr"/>
            <a:r>
              <a:rPr lang="en-US" sz="4000" b="1" dirty="0">
                <a:solidFill>
                  <a:schemeClr val="accent2">
                    <a:lumMod val="75000"/>
                  </a:schemeClr>
                </a:solidFill>
                <a:effectLst>
                  <a:outerShdw blurRad="38100" dist="38100" dir="2700000" algn="tl">
                    <a:srgbClr val="000000">
                      <a:alpha val="43137"/>
                    </a:srgbClr>
                  </a:outerShdw>
                </a:effectLst>
                <a:latin typeface="Tw Cen MT" panose="020B0602020104020603" pitchFamily="34" charset="0"/>
              </a:rPr>
              <a:t>P L</a:t>
            </a:r>
            <a:r>
              <a:rPr lang="en-US" sz="4000" b="1" dirty="0">
                <a:solidFill>
                  <a:schemeClr val="bg1">
                    <a:lumMod val="65000"/>
                  </a:schemeClr>
                </a:solidFill>
                <a:effectLst>
                  <a:outerShdw blurRad="38100" dist="38100" dir="2700000" algn="tl">
                    <a:srgbClr val="000000">
                      <a:alpha val="43137"/>
                    </a:srgbClr>
                  </a:outerShdw>
                </a:effectLst>
                <a:latin typeface="Tw Cen MT" panose="020B0602020104020603" pitchFamily="34" charset="0"/>
              </a:rPr>
              <a:t> </a:t>
            </a:r>
            <a:r>
              <a:rPr lang="en-US" sz="4000" b="1" dirty="0">
                <a:solidFill>
                  <a:schemeClr val="accent2">
                    <a:lumMod val="75000"/>
                  </a:schemeClr>
                </a:solidFill>
                <a:effectLst>
                  <a:outerShdw blurRad="38100" dist="38100" dir="2700000" algn="tl">
                    <a:srgbClr val="000000">
                      <a:alpha val="43137"/>
                    </a:srgbClr>
                  </a:outerShdw>
                </a:effectLst>
                <a:latin typeface="Tw Cen MT" panose="020B0602020104020603" pitchFamily="34" charset="0"/>
              </a:rPr>
              <a:t>M</a:t>
            </a:r>
          </a:p>
          <a:p>
            <a:pPr algn="ctr"/>
            <a:r>
              <a:rPr lang="en-US" sz="2000" dirty="0">
                <a:solidFill>
                  <a:schemeClr val="bg2">
                    <a:lumMod val="50000"/>
                  </a:schemeClr>
                </a:solidFill>
                <a:effectLst>
                  <a:outerShdw blurRad="38100" dist="38100" dir="2700000" algn="tl">
                    <a:srgbClr val="000000">
                      <a:alpha val="43137"/>
                    </a:srgbClr>
                  </a:outerShdw>
                </a:effectLst>
                <a:latin typeface="Tw Cen MT" panose="020B0602020104020603" pitchFamily="34" charset="0"/>
              </a:rPr>
              <a:t>(Product Life Management )</a:t>
            </a:r>
            <a:endParaRPr lang="fr-FR" sz="2000" dirty="0">
              <a:solidFill>
                <a:schemeClr val="bg2">
                  <a:lumMod val="50000"/>
                </a:schemeClr>
              </a:solidFill>
              <a:effectLst>
                <a:outerShdw blurRad="38100" dist="38100" dir="2700000" algn="tl">
                  <a:srgbClr val="000000">
                    <a:alpha val="43137"/>
                  </a:srgbClr>
                </a:outerShdw>
              </a:effectLst>
            </a:endParaRPr>
          </a:p>
        </p:txBody>
      </p:sp>
      <p:pic>
        <p:nvPicPr>
          <p:cNvPr id="2" name="Image 1">
            <a:extLst>
              <a:ext uri="{FF2B5EF4-FFF2-40B4-BE49-F238E27FC236}">
                <a16:creationId xmlns:a16="http://schemas.microsoft.com/office/drawing/2014/main" id="{13BFCF08-0F60-48E1-88E5-773E59C60057}"/>
              </a:ext>
            </a:extLst>
          </p:cNvPr>
          <p:cNvPicPr>
            <a:picLocks noChangeAspect="1"/>
          </p:cNvPicPr>
          <p:nvPr/>
        </p:nvPicPr>
        <p:blipFill>
          <a:blip r:embed="rId5"/>
          <a:stretch>
            <a:fillRect/>
          </a:stretch>
        </p:blipFill>
        <p:spPr>
          <a:xfrm>
            <a:off x="3506831" y="1695072"/>
            <a:ext cx="5971750" cy="3772304"/>
          </a:xfrm>
          <a:prstGeom prst="rect">
            <a:avLst/>
          </a:prstGeom>
        </p:spPr>
      </p:pic>
      <p:grpSp>
        <p:nvGrpSpPr>
          <p:cNvPr id="205" name="Groupe 204">
            <a:extLst>
              <a:ext uri="{FF2B5EF4-FFF2-40B4-BE49-F238E27FC236}">
                <a16:creationId xmlns:a16="http://schemas.microsoft.com/office/drawing/2014/main" id="{51F02255-B1D6-4038-AF37-C263AD09DFEB}"/>
              </a:ext>
            </a:extLst>
          </p:cNvPr>
          <p:cNvGrpSpPr/>
          <p:nvPr/>
        </p:nvGrpSpPr>
        <p:grpSpPr>
          <a:xfrm>
            <a:off x="7768778" y="2022552"/>
            <a:ext cx="1656184" cy="2225676"/>
            <a:chOff x="7320136" y="2276872"/>
            <a:chExt cx="1512168" cy="2225676"/>
          </a:xfrm>
        </p:grpSpPr>
        <p:sp>
          <p:nvSpPr>
            <p:cNvPr id="206" name="Rectangle 205">
              <a:extLst>
                <a:ext uri="{FF2B5EF4-FFF2-40B4-BE49-F238E27FC236}">
                  <a16:creationId xmlns:a16="http://schemas.microsoft.com/office/drawing/2014/main" id="{4C714004-080C-4198-9A87-99F118A50BE9}"/>
                </a:ext>
              </a:extLst>
            </p:cNvPr>
            <p:cNvSpPr/>
            <p:nvPr/>
          </p:nvSpPr>
          <p:spPr>
            <a:xfrm>
              <a:off x="7320136" y="2276872"/>
              <a:ext cx="1512168" cy="923330"/>
            </a:xfrm>
            <a:prstGeom prst="rect">
              <a:avLst/>
            </a:prstGeom>
          </p:spPr>
          <p:txBody>
            <a:bodyPr wrap="square">
              <a:spAutoFit/>
            </a:bodyPr>
            <a:lstStyle/>
            <a:p>
              <a:pPr algn="ctr"/>
              <a:r>
                <a:rPr lang="fr-FR"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Améliorer la communication </a:t>
              </a:r>
            </a:p>
          </p:txBody>
        </p:sp>
        <p:grpSp>
          <p:nvGrpSpPr>
            <p:cNvPr id="207" name="Group 597">
              <a:extLst>
                <a:ext uri="{FF2B5EF4-FFF2-40B4-BE49-F238E27FC236}">
                  <a16:creationId xmlns:a16="http://schemas.microsoft.com/office/drawing/2014/main" id="{BB3764A9-CEBA-4687-BBEF-B788561CFAE4}"/>
                </a:ext>
              </a:extLst>
            </p:cNvPr>
            <p:cNvGrpSpPr>
              <a:grpSpLocks noChangeAspect="1"/>
            </p:cNvGrpSpPr>
            <p:nvPr/>
          </p:nvGrpSpPr>
          <p:grpSpPr>
            <a:xfrm>
              <a:off x="7521180" y="3374419"/>
              <a:ext cx="1117817" cy="1128129"/>
              <a:chOff x="2809108" y="5657850"/>
              <a:chExt cx="853579" cy="861454"/>
            </a:xfrm>
          </p:grpSpPr>
          <p:sp>
            <p:nvSpPr>
              <p:cNvPr id="208" name="Freeform 233">
                <a:extLst>
                  <a:ext uri="{FF2B5EF4-FFF2-40B4-BE49-F238E27FC236}">
                    <a16:creationId xmlns:a16="http://schemas.microsoft.com/office/drawing/2014/main" id="{C7CBE74F-A474-49D9-BDD4-702E3B3C32DA}"/>
                  </a:ext>
                </a:extLst>
              </p:cNvPr>
              <p:cNvSpPr>
                <a:spLocks/>
              </p:cNvSpPr>
              <p:nvPr/>
            </p:nvSpPr>
            <p:spPr bwMode="auto">
              <a:xfrm>
                <a:off x="2809108" y="5657850"/>
                <a:ext cx="853579" cy="861454"/>
              </a:xfrm>
              <a:custGeom>
                <a:avLst/>
                <a:gdLst>
                  <a:gd name="T0" fmla="*/ 66 w 457"/>
                  <a:gd name="T1" fmla="*/ 333 h 427"/>
                  <a:gd name="T2" fmla="*/ 109 w 457"/>
                  <a:gd name="T3" fmla="*/ 63 h 427"/>
                  <a:gd name="T4" fmla="*/ 391 w 457"/>
                  <a:gd name="T5" fmla="*/ 103 h 427"/>
                  <a:gd name="T6" fmla="*/ 340 w 457"/>
                  <a:gd name="T7" fmla="*/ 363 h 427"/>
                  <a:gd name="T8" fmla="*/ 66 w 457"/>
                  <a:gd name="T9" fmla="*/ 333 h 427"/>
                </a:gdLst>
                <a:ahLst/>
                <a:cxnLst>
                  <a:cxn ang="0">
                    <a:pos x="T0" y="T1"/>
                  </a:cxn>
                  <a:cxn ang="0">
                    <a:pos x="T2" y="T3"/>
                  </a:cxn>
                  <a:cxn ang="0">
                    <a:pos x="T4" y="T5"/>
                  </a:cxn>
                  <a:cxn ang="0">
                    <a:pos x="T6" y="T7"/>
                  </a:cxn>
                  <a:cxn ang="0">
                    <a:pos x="T8" y="T9"/>
                  </a:cxn>
                </a:cxnLst>
                <a:rect l="0" t="0" r="r" b="b"/>
                <a:pathLst>
                  <a:path w="457" h="427">
                    <a:moveTo>
                      <a:pt x="66" y="333"/>
                    </a:moveTo>
                    <a:cubicBezTo>
                      <a:pt x="0" y="248"/>
                      <a:pt x="20" y="127"/>
                      <a:pt x="109" y="63"/>
                    </a:cubicBezTo>
                    <a:cubicBezTo>
                      <a:pt x="199" y="0"/>
                      <a:pt x="325" y="18"/>
                      <a:pt x="391" y="103"/>
                    </a:cubicBezTo>
                    <a:cubicBezTo>
                      <a:pt x="457" y="189"/>
                      <a:pt x="430" y="299"/>
                      <a:pt x="340" y="363"/>
                    </a:cubicBezTo>
                    <a:cubicBezTo>
                      <a:pt x="250" y="427"/>
                      <a:pt x="131" y="419"/>
                      <a:pt x="66" y="333"/>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en-US" b="1" dirty="0"/>
              </a:p>
            </p:txBody>
          </p:sp>
          <p:sp>
            <p:nvSpPr>
              <p:cNvPr id="209" name="Freeform 234">
                <a:extLst>
                  <a:ext uri="{FF2B5EF4-FFF2-40B4-BE49-F238E27FC236}">
                    <a16:creationId xmlns:a16="http://schemas.microsoft.com/office/drawing/2014/main" id="{0F12D026-83B5-4CFB-9333-DE9B133AFB44}"/>
                  </a:ext>
                </a:extLst>
              </p:cNvPr>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210" name="Freeform 235">
                <a:extLst>
                  <a:ext uri="{FF2B5EF4-FFF2-40B4-BE49-F238E27FC236}">
                    <a16:creationId xmlns:a16="http://schemas.microsoft.com/office/drawing/2014/main" id="{9C3A27F7-D4A1-4DEC-9B87-5204FD912674}"/>
                  </a:ext>
                </a:extLst>
              </p:cNvPr>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b="1"/>
              </a:p>
            </p:txBody>
          </p:sp>
          <p:sp>
            <p:nvSpPr>
              <p:cNvPr id="211" name="Freeform 250">
                <a:extLst>
                  <a:ext uri="{FF2B5EF4-FFF2-40B4-BE49-F238E27FC236}">
                    <a16:creationId xmlns:a16="http://schemas.microsoft.com/office/drawing/2014/main" id="{3355A4D5-21E3-4E5C-A14E-4F02903A1869}"/>
                  </a:ext>
                </a:extLst>
              </p:cNvPr>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1" dirty="0"/>
              </a:p>
            </p:txBody>
          </p:sp>
        </p:grpSp>
      </p:grpSp>
      <p:grpSp>
        <p:nvGrpSpPr>
          <p:cNvPr id="212" name="Groupe 211">
            <a:extLst>
              <a:ext uri="{FF2B5EF4-FFF2-40B4-BE49-F238E27FC236}">
                <a16:creationId xmlns:a16="http://schemas.microsoft.com/office/drawing/2014/main" id="{2BEAD0AE-7F4A-49B1-A640-74889FE468BC}"/>
              </a:ext>
            </a:extLst>
          </p:cNvPr>
          <p:cNvGrpSpPr/>
          <p:nvPr/>
        </p:nvGrpSpPr>
        <p:grpSpPr>
          <a:xfrm>
            <a:off x="3614324" y="1927600"/>
            <a:ext cx="2129379" cy="2256064"/>
            <a:chOff x="2927648" y="2213454"/>
            <a:chExt cx="1944216" cy="2256064"/>
          </a:xfrm>
        </p:grpSpPr>
        <p:sp>
          <p:nvSpPr>
            <p:cNvPr id="213" name="Rectangle 212">
              <a:extLst>
                <a:ext uri="{FF2B5EF4-FFF2-40B4-BE49-F238E27FC236}">
                  <a16:creationId xmlns:a16="http://schemas.microsoft.com/office/drawing/2014/main" id="{7FDF38DD-15C3-4F1D-B3A9-4E3A33C680F0}"/>
                </a:ext>
              </a:extLst>
            </p:cNvPr>
            <p:cNvSpPr/>
            <p:nvPr/>
          </p:nvSpPr>
          <p:spPr>
            <a:xfrm>
              <a:off x="2927648" y="2213454"/>
              <a:ext cx="1944216" cy="1200329"/>
            </a:xfrm>
            <a:prstGeom prst="rect">
              <a:avLst/>
            </a:prstGeom>
          </p:spPr>
          <p:txBody>
            <a:bodyPr wrap="square">
              <a:spAutoFit/>
            </a:bodyPr>
            <a:lstStyle/>
            <a:p>
              <a:pPr algn="ctr"/>
              <a:r>
                <a:rPr lang="fr-FR"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Centraliser, partager et sécuriser l’information </a:t>
              </a:r>
            </a:p>
          </p:txBody>
        </p:sp>
        <p:grpSp>
          <p:nvGrpSpPr>
            <p:cNvPr id="214" name="Groupe 213">
              <a:extLst>
                <a:ext uri="{FF2B5EF4-FFF2-40B4-BE49-F238E27FC236}">
                  <a16:creationId xmlns:a16="http://schemas.microsoft.com/office/drawing/2014/main" id="{E2D7F6E5-3640-4002-9961-9B41F2F370A5}"/>
                </a:ext>
              </a:extLst>
            </p:cNvPr>
            <p:cNvGrpSpPr>
              <a:grpSpLocks noChangeAspect="1"/>
            </p:cNvGrpSpPr>
            <p:nvPr/>
          </p:nvGrpSpPr>
          <p:grpSpPr>
            <a:xfrm>
              <a:off x="3362591" y="3386393"/>
              <a:ext cx="1023155" cy="1083125"/>
              <a:chOff x="6305327" y="2929607"/>
              <a:chExt cx="871270" cy="922338"/>
            </a:xfrm>
          </p:grpSpPr>
          <p:sp>
            <p:nvSpPr>
              <p:cNvPr id="215" name="Freeform 208">
                <a:extLst>
                  <a:ext uri="{FF2B5EF4-FFF2-40B4-BE49-F238E27FC236}">
                    <a16:creationId xmlns:a16="http://schemas.microsoft.com/office/drawing/2014/main" id="{9433DCE1-E9B1-4F3C-962E-A2114D3F0814}"/>
                  </a:ext>
                </a:extLst>
              </p:cNvPr>
              <p:cNvSpPr>
                <a:spLocks/>
              </p:cNvSpPr>
              <p:nvPr/>
            </p:nvSpPr>
            <p:spPr bwMode="auto">
              <a:xfrm>
                <a:off x="6305327" y="2929607"/>
                <a:ext cx="871270" cy="922338"/>
              </a:xfrm>
              <a:custGeom>
                <a:avLst/>
                <a:gdLst>
                  <a:gd name="T0" fmla="*/ 42 w 292"/>
                  <a:gd name="T1" fmla="*/ 213 h 272"/>
                  <a:gd name="T2" fmla="*/ 70 w 292"/>
                  <a:gd name="T3" fmla="*/ 41 h 272"/>
                  <a:gd name="T4" fmla="*/ 250 w 292"/>
                  <a:gd name="T5" fmla="*/ 66 h 272"/>
                  <a:gd name="T6" fmla="*/ 217 w 292"/>
                  <a:gd name="T7" fmla="*/ 231 h 272"/>
                  <a:gd name="T8" fmla="*/ 42 w 292"/>
                  <a:gd name="T9" fmla="*/ 213 h 272"/>
                </a:gdLst>
                <a:ahLst/>
                <a:cxnLst>
                  <a:cxn ang="0">
                    <a:pos x="T0" y="T1"/>
                  </a:cxn>
                  <a:cxn ang="0">
                    <a:pos x="T2" y="T3"/>
                  </a:cxn>
                  <a:cxn ang="0">
                    <a:pos x="T4" y="T5"/>
                  </a:cxn>
                  <a:cxn ang="0">
                    <a:pos x="T6" y="T7"/>
                  </a:cxn>
                  <a:cxn ang="0">
                    <a:pos x="T8" y="T9"/>
                  </a:cxn>
                </a:cxnLst>
                <a:rect l="0" t="0" r="r" b="b"/>
                <a:pathLst>
                  <a:path w="292" h="272">
                    <a:moveTo>
                      <a:pt x="42" y="213"/>
                    </a:moveTo>
                    <a:cubicBezTo>
                      <a:pt x="0" y="158"/>
                      <a:pt x="12" y="81"/>
                      <a:pt x="70" y="41"/>
                    </a:cubicBezTo>
                    <a:cubicBezTo>
                      <a:pt x="127" y="0"/>
                      <a:pt x="208" y="12"/>
                      <a:pt x="250" y="66"/>
                    </a:cubicBezTo>
                    <a:cubicBezTo>
                      <a:pt x="292" y="120"/>
                      <a:pt x="274" y="191"/>
                      <a:pt x="217" y="231"/>
                    </a:cubicBezTo>
                    <a:cubicBezTo>
                      <a:pt x="160" y="272"/>
                      <a:pt x="84" y="267"/>
                      <a:pt x="42" y="213"/>
                    </a:cubicBezTo>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grpSp>
            <p:nvGrpSpPr>
              <p:cNvPr id="216" name="Groupe 215">
                <a:extLst>
                  <a:ext uri="{FF2B5EF4-FFF2-40B4-BE49-F238E27FC236}">
                    <a16:creationId xmlns:a16="http://schemas.microsoft.com/office/drawing/2014/main" id="{1A32B937-550F-4AFB-9F6E-6390A345BD18}"/>
                  </a:ext>
                </a:extLst>
              </p:cNvPr>
              <p:cNvGrpSpPr/>
              <p:nvPr/>
            </p:nvGrpSpPr>
            <p:grpSpPr>
              <a:xfrm>
                <a:off x="6553200" y="3146425"/>
                <a:ext cx="385763" cy="454026"/>
                <a:chOff x="6553200" y="3146425"/>
                <a:chExt cx="385763" cy="454026"/>
              </a:xfrm>
            </p:grpSpPr>
            <p:sp>
              <p:nvSpPr>
                <p:cNvPr id="217" name="Freeform 209">
                  <a:extLst>
                    <a:ext uri="{FF2B5EF4-FFF2-40B4-BE49-F238E27FC236}">
                      <a16:creationId xmlns:a16="http://schemas.microsoft.com/office/drawing/2014/main" id="{DC5D7F2F-529E-4FEB-B9A0-765484B9F1C3}"/>
                    </a:ext>
                  </a:extLst>
                </p:cNvPr>
                <p:cNvSpPr>
                  <a:spLocks/>
                </p:cNvSpPr>
                <p:nvPr/>
              </p:nvSpPr>
              <p:spPr bwMode="auto">
                <a:xfrm>
                  <a:off x="6630988" y="3146426"/>
                  <a:ext cx="236538" cy="280988"/>
                </a:xfrm>
                <a:custGeom>
                  <a:avLst/>
                  <a:gdLst>
                    <a:gd name="T0" fmla="*/ 16 w 70"/>
                    <a:gd name="T1" fmla="*/ 83 h 83"/>
                    <a:gd name="T2" fmla="*/ 1 w 70"/>
                    <a:gd name="T3" fmla="*/ 83 h 83"/>
                    <a:gd name="T4" fmla="*/ 0 w 70"/>
                    <a:gd name="T5" fmla="*/ 36 h 83"/>
                    <a:gd name="T6" fmla="*/ 21 w 70"/>
                    <a:gd name="T7" fmla="*/ 2 h 83"/>
                    <a:gd name="T8" fmla="*/ 48 w 70"/>
                    <a:gd name="T9" fmla="*/ 1 h 83"/>
                    <a:gd name="T10" fmla="*/ 70 w 70"/>
                    <a:gd name="T11" fmla="*/ 35 h 83"/>
                    <a:gd name="T12" fmla="*/ 70 w 70"/>
                    <a:gd name="T13" fmla="*/ 82 h 83"/>
                    <a:gd name="T14" fmla="*/ 57 w 70"/>
                    <a:gd name="T15" fmla="*/ 82 h 83"/>
                    <a:gd name="T16" fmla="*/ 57 w 70"/>
                    <a:gd name="T17" fmla="*/ 35 h 83"/>
                    <a:gd name="T18" fmla="*/ 46 w 70"/>
                    <a:gd name="T19" fmla="*/ 16 h 83"/>
                    <a:gd name="T20" fmla="*/ 26 w 70"/>
                    <a:gd name="T21" fmla="*/ 17 h 83"/>
                    <a:gd name="T22" fmla="*/ 16 w 70"/>
                    <a:gd name="T23" fmla="*/ 36 h 83"/>
                    <a:gd name="T24" fmla="*/ 16 w 70"/>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83">
                      <a:moveTo>
                        <a:pt x="16" y="83"/>
                      </a:moveTo>
                      <a:cubicBezTo>
                        <a:pt x="1" y="83"/>
                        <a:pt x="1" y="83"/>
                        <a:pt x="1" y="83"/>
                      </a:cubicBezTo>
                      <a:cubicBezTo>
                        <a:pt x="1" y="69"/>
                        <a:pt x="0" y="37"/>
                        <a:pt x="0" y="36"/>
                      </a:cubicBezTo>
                      <a:cubicBezTo>
                        <a:pt x="0" y="30"/>
                        <a:pt x="0" y="9"/>
                        <a:pt x="21" y="2"/>
                      </a:cubicBezTo>
                      <a:cubicBezTo>
                        <a:pt x="29" y="0"/>
                        <a:pt x="38" y="0"/>
                        <a:pt x="48" y="1"/>
                      </a:cubicBezTo>
                      <a:cubicBezTo>
                        <a:pt x="62" y="4"/>
                        <a:pt x="70" y="16"/>
                        <a:pt x="70" y="35"/>
                      </a:cubicBezTo>
                      <a:cubicBezTo>
                        <a:pt x="70" y="82"/>
                        <a:pt x="70" y="82"/>
                        <a:pt x="70" y="82"/>
                      </a:cubicBezTo>
                      <a:cubicBezTo>
                        <a:pt x="57" y="82"/>
                        <a:pt x="57" y="82"/>
                        <a:pt x="57" y="82"/>
                      </a:cubicBezTo>
                      <a:cubicBezTo>
                        <a:pt x="57" y="35"/>
                        <a:pt x="57" y="35"/>
                        <a:pt x="57" y="35"/>
                      </a:cubicBezTo>
                      <a:cubicBezTo>
                        <a:pt x="57" y="24"/>
                        <a:pt x="52" y="18"/>
                        <a:pt x="46" y="16"/>
                      </a:cubicBezTo>
                      <a:cubicBezTo>
                        <a:pt x="38" y="14"/>
                        <a:pt x="31" y="15"/>
                        <a:pt x="26" y="17"/>
                      </a:cubicBezTo>
                      <a:cubicBezTo>
                        <a:pt x="20" y="19"/>
                        <a:pt x="16" y="23"/>
                        <a:pt x="16" y="36"/>
                      </a:cubicBezTo>
                      <a:cubicBezTo>
                        <a:pt x="16" y="38"/>
                        <a:pt x="16" y="69"/>
                        <a:pt x="16" y="8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218" name="Freeform 210">
                  <a:extLst>
                    <a:ext uri="{FF2B5EF4-FFF2-40B4-BE49-F238E27FC236}">
                      <a16:creationId xmlns:a16="http://schemas.microsoft.com/office/drawing/2014/main" id="{3EA5A2B5-20D0-450F-B544-31E5CF154863}"/>
                    </a:ext>
                  </a:extLst>
                </p:cNvPr>
                <p:cNvSpPr>
                  <a:spLocks/>
                </p:cNvSpPr>
                <p:nvPr/>
              </p:nvSpPr>
              <p:spPr bwMode="auto">
                <a:xfrm>
                  <a:off x="6630988" y="3146425"/>
                  <a:ext cx="236538" cy="280988"/>
                </a:xfrm>
                <a:custGeom>
                  <a:avLst/>
                  <a:gdLst>
                    <a:gd name="T0" fmla="*/ 16 w 70"/>
                    <a:gd name="T1" fmla="*/ 83 h 83"/>
                    <a:gd name="T2" fmla="*/ 1 w 70"/>
                    <a:gd name="T3" fmla="*/ 83 h 83"/>
                    <a:gd name="T4" fmla="*/ 0 w 70"/>
                    <a:gd name="T5" fmla="*/ 36 h 83"/>
                    <a:gd name="T6" fmla="*/ 21 w 70"/>
                    <a:gd name="T7" fmla="*/ 2 h 83"/>
                    <a:gd name="T8" fmla="*/ 48 w 70"/>
                    <a:gd name="T9" fmla="*/ 1 h 83"/>
                    <a:gd name="T10" fmla="*/ 70 w 70"/>
                    <a:gd name="T11" fmla="*/ 35 h 83"/>
                    <a:gd name="T12" fmla="*/ 70 w 70"/>
                    <a:gd name="T13" fmla="*/ 82 h 83"/>
                    <a:gd name="T14" fmla="*/ 57 w 70"/>
                    <a:gd name="T15" fmla="*/ 82 h 83"/>
                    <a:gd name="T16" fmla="*/ 57 w 70"/>
                    <a:gd name="T17" fmla="*/ 35 h 83"/>
                    <a:gd name="T18" fmla="*/ 46 w 70"/>
                    <a:gd name="T19" fmla="*/ 16 h 83"/>
                    <a:gd name="T20" fmla="*/ 26 w 70"/>
                    <a:gd name="T21" fmla="*/ 17 h 83"/>
                    <a:gd name="T22" fmla="*/ 16 w 70"/>
                    <a:gd name="T23" fmla="*/ 36 h 83"/>
                    <a:gd name="T24" fmla="*/ 16 w 70"/>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83">
                      <a:moveTo>
                        <a:pt x="16" y="83"/>
                      </a:moveTo>
                      <a:cubicBezTo>
                        <a:pt x="1" y="83"/>
                        <a:pt x="1" y="83"/>
                        <a:pt x="1" y="83"/>
                      </a:cubicBezTo>
                      <a:cubicBezTo>
                        <a:pt x="1" y="69"/>
                        <a:pt x="0" y="37"/>
                        <a:pt x="0" y="36"/>
                      </a:cubicBezTo>
                      <a:cubicBezTo>
                        <a:pt x="0" y="30"/>
                        <a:pt x="0" y="9"/>
                        <a:pt x="21" y="2"/>
                      </a:cubicBezTo>
                      <a:cubicBezTo>
                        <a:pt x="29" y="0"/>
                        <a:pt x="38" y="0"/>
                        <a:pt x="48" y="1"/>
                      </a:cubicBezTo>
                      <a:cubicBezTo>
                        <a:pt x="62" y="4"/>
                        <a:pt x="70" y="16"/>
                        <a:pt x="70" y="35"/>
                      </a:cubicBezTo>
                      <a:cubicBezTo>
                        <a:pt x="70" y="82"/>
                        <a:pt x="70" y="82"/>
                        <a:pt x="70" y="82"/>
                      </a:cubicBezTo>
                      <a:cubicBezTo>
                        <a:pt x="57" y="82"/>
                        <a:pt x="57" y="82"/>
                        <a:pt x="57" y="82"/>
                      </a:cubicBezTo>
                      <a:cubicBezTo>
                        <a:pt x="57" y="35"/>
                        <a:pt x="57" y="35"/>
                        <a:pt x="57" y="35"/>
                      </a:cubicBezTo>
                      <a:cubicBezTo>
                        <a:pt x="57" y="24"/>
                        <a:pt x="52" y="18"/>
                        <a:pt x="46" y="16"/>
                      </a:cubicBezTo>
                      <a:cubicBezTo>
                        <a:pt x="38" y="14"/>
                        <a:pt x="31" y="15"/>
                        <a:pt x="26" y="17"/>
                      </a:cubicBezTo>
                      <a:cubicBezTo>
                        <a:pt x="20" y="19"/>
                        <a:pt x="16" y="23"/>
                        <a:pt x="16" y="36"/>
                      </a:cubicBezTo>
                      <a:cubicBezTo>
                        <a:pt x="16" y="38"/>
                        <a:pt x="16" y="69"/>
                        <a:pt x="16" y="83"/>
                      </a:cubicBezTo>
                    </a:path>
                  </a:pathLst>
                </a:custGeom>
                <a:noFill/>
                <a:ln w="95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b="1"/>
                </a:p>
              </p:txBody>
            </p:sp>
            <p:sp>
              <p:nvSpPr>
                <p:cNvPr id="219" name="Freeform 211">
                  <a:extLst>
                    <a:ext uri="{FF2B5EF4-FFF2-40B4-BE49-F238E27FC236}">
                      <a16:creationId xmlns:a16="http://schemas.microsoft.com/office/drawing/2014/main" id="{66EBEB0F-0A75-4509-9063-E80BC55CA837}"/>
                    </a:ext>
                  </a:extLst>
                </p:cNvPr>
                <p:cNvSpPr>
                  <a:spLocks/>
                </p:cNvSpPr>
                <p:nvPr/>
              </p:nvSpPr>
              <p:spPr bwMode="auto">
                <a:xfrm>
                  <a:off x="6553200" y="3349626"/>
                  <a:ext cx="385763" cy="250825"/>
                </a:xfrm>
                <a:custGeom>
                  <a:avLst/>
                  <a:gdLst>
                    <a:gd name="T0" fmla="*/ 21 w 114"/>
                    <a:gd name="T1" fmla="*/ 73 h 74"/>
                    <a:gd name="T2" fmla="*/ 93 w 114"/>
                    <a:gd name="T3" fmla="*/ 73 h 74"/>
                    <a:gd name="T4" fmla="*/ 113 w 114"/>
                    <a:gd name="T5" fmla="*/ 49 h 74"/>
                    <a:gd name="T6" fmla="*/ 113 w 114"/>
                    <a:gd name="T7" fmla="*/ 3 h 74"/>
                    <a:gd name="T8" fmla="*/ 21 w 114"/>
                    <a:gd name="T9" fmla="*/ 1 h 74"/>
                    <a:gd name="T10" fmla="*/ 0 w 114"/>
                    <a:gd name="T11" fmla="*/ 26 h 74"/>
                    <a:gd name="T12" fmla="*/ 0 w 114"/>
                    <a:gd name="T13" fmla="*/ 55 h 74"/>
                    <a:gd name="T14" fmla="*/ 21 w 114"/>
                    <a:gd name="T15" fmla="*/ 73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74">
                      <a:moveTo>
                        <a:pt x="21" y="73"/>
                      </a:moveTo>
                      <a:cubicBezTo>
                        <a:pt x="33" y="74"/>
                        <a:pt x="84" y="74"/>
                        <a:pt x="93" y="73"/>
                      </a:cubicBezTo>
                      <a:cubicBezTo>
                        <a:pt x="109" y="72"/>
                        <a:pt x="114" y="69"/>
                        <a:pt x="113" y="49"/>
                      </a:cubicBezTo>
                      <a:cubicBezTo>
                        <a:pt x="113" y="49"/>
                        <a:pt x="113" y="21"/>
                        <a:pt x="113" y="3"/>
                      </a:cubicBezTo>
                      <a:cubicBezTo>
                        <a:pt x="86" y="1"/>
                        <a:pt x="37" y="0"/>
                        <a:pt x="21" y="1"/>
                      </a:cubicBezTo>
                      <a:cubicBezTo>
                        <a:pt x="6" y="3"/>
                        <a:pt x="0" y="7"/>
                        <a:pt x="0" y="26"/>
                      </a:cubicBezTo>
                      <a:cubicBezTo>
                        <a:pt x="0" y="55"/>
                        <a:pt x="0" y="55"/>
                        <a:pt x="0" y="55"/>
                      </a:cubicBezTo>
                      <a:cubicBezTo>
                        <a:pt x="0" y="70"/>
                        <a:pt x="5" y="73"/>
                        <a:pt x="21" y="7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220" name="Freeform 212">
                  <a:extLst>
                    <a:ext uri="{FF2B5EF4-FFF2-40B4-BE49-F238E27FC236}">
                      <a16:creationId xmlns:a16="http://schemas.microsoft.com/office/drawing/2014/main" id="{0F28F882-BD11-4788-8E62-63606AE52FAD}"/>
                    </a:ext>
                  </a:extLst>
                </p:cNvPr>
                <p:cNvSpPr>
                  <a:spLocks/>
                </p:cNvSpPr>
                <p:nvPr/>
              </p:nvSpPr>
              <p:spPr bwMode="auto">
                <a:xfrm>
                  <a:off x="6718301" y="3400426"/>
                  <a:ext cx="71438" cy="77788"/>
                </a:xfrm>
                <a:custGeom>
                  <a:avLst/>
                  <a:gdLst>
                    <a:gd name="T0" fmla="*/ 11 w 21"/>
                    <a:gd name="T1" fmla="*/ 23 h 23"/>
                    <a:gd name="T2" fmla="*/ 21 w 21"/>
                    <a:gd name="T3" fmla="*/ 11 h 23"/>
                    <a:gd name="T4" fmla="*/ 11 w 21"/>
                    <a:gd name="T5" fmla="*/ 1 h 23"/>
                    <a:gd name="T6" fmla="*/ 0 w 21"/>
                    <a:gd name="T7" fmla="*/ 13 h 23"/>
                    <a:gd name="T8" fmla="*/ 11 w 21"/>
                    <a:gd name="T9" fmla="*/ 23 h 23"/>
                  </a:gdLst>
                  <a:ahLst/>
                  <a:cxnLst>
                    <a:cxn ang="0">
                      <a:pos x="T0" y="T1"/>
                    </a:cxn>
                    <a:cxn ang="0">
                      <a:pos x="T2" y="T3"/>
                    </a:cxn>
                    <a:cxn ang="0">
                      <a:pos x="T4" y="T5"/>
                    </a:cxn>
                    <a:cxn ang="0">
                      <a:pos x="T6" y="T7"/>
                    </a:cxn>
                    <a:cxn ang="0">
                      <a:pos x="T8" y="T9"/>
                    </a:cxn>
                  </a:cxnLst>
                  <a:rect l="0" t="0" r="r" b="b"/>
                  <a:pathLst>
                    <a:path w="21" h="23">
                      <a:moveTo>
                        <a:pt x="11" y="23"/>
                      </a:moveTo>
                      <a:cubicBezTo>
                        <a:pt x="17" y="23"/>
                        <a:pt x="21" y="17"/>
                        <a:pt x="21" y="11"/>
                      </a:cubicBezTo>
                      <a:cubicBezTo>
                        <a:pt x="21" y="5"/>
                        <a:pt x="17" y="0"/>
                        <a:pt x="11" y="1"/>
                      </a:cubicBezTo>
                      <a:cubicBezTo>
                        <a:pt x="4" y="1"/>
                        <a:pt x="0" y="7"/>
                        <a:pt x="0" y="13"/>
                      </a:cubicBezTo>
                      <a:cubicBezTo>
                        <a:pt x="0" y="19"/>
                        <a:pt x="5" y="23"/>
                        <a:pt x="11" y="23"/>
                      </a:cubicBezTo>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221" name="Freeform 213">
                  <a:extLst>
                    <a:ext uri="{FF2B5EF4-FFF2-40B4-BE49-F238E27FC236}">
                      <a16:creationId xmlns:a16="http://schemas.microsoft.com/office/drawing/2014/main" id="{DDD5650B-03A1-472E-A314-2FA27A8821AF}"/>
                    </a:ext>
                  </a:extLst>
                </p:cNvPr>
                <p:cNvSpPr>
                  <a:spLocks/>
                </p:cNvSpPr>
                <p:nvPr/>
              </p:nvSpPr>
              <p:spPr bwMode="auto">
                <a:xfrm>
                  <a:off x="6718301" y="3400426"/>
                  <a:ext cx="71438" cy="77788"/>
                </a:xfrm>
                <a:custGeom>
                  <a:avLst/>
                  <a:gdLst>
                    <a:gd name="T0" fmla="*/ 11 w 21"/>
                    <a:gd name="T1" fmla="*/ 23 h 23"/>
                    <a:gd name="T2" fmla="*/ 21 w 21"/>
                    <a:gd name="T3" fmla="*/ 11 h 23"/>
                    <a:gd name="T4" fmla="*/ 11 w 21"/>
                    <a:gd name="T5" fmla="*/ 1 h 23"/>
                    <a:gd name="T6" fmla="*/ 0 w 21"/>
                    <a:gd name="T7" fmla="*/ 13 h 23"/>
                    <a:gd name="T8" fmla="*/ 11 w 21"/>
                    <a:gd name="T9" fmla="*/ 23 h 23"/>
                  </a:gdLst>
                  <a:ahLst/>
                  <a:cxnLst>
                    <a:cxn ang="0">
                      <a:pos x="T0" y="T1"/>
                    </a:cxn>
                    <a:cxn ang="0">
                      <a:pos x="T2" y="T3"/>
                    </a:cxn>
                    <a:cxn ang="0">
                      <a:pos x="T4" y="T5"/>
                    </a:cxn>
                    <a:cxn ang="0">
                      <a:pos x="T6" y="T7"/>
                    </a:cxn>
                    <a:cxn ang="0">
                      <a:pos x="T8" y="T9"/>
                    </a:cxn>
                  </a:cxnLst>
                  <a:rect l="0" t="0" r="r" b="b"/>
                  <a:pathLst>
                    <a:path w="21" h="23">
                      <a:moveTo>
                        <a:pt x="11" y="23"/>
                      </a:moveTo>
                      <a:cubicBezTo>
                        <a:pt x="17" y="23"/>
                        <a:pt x="21" y="17"/>
                        <a:pt x="21" y="11"/>
                      </a:cubicBezTo>
                      <a:cubicBezTo>
                        <a:pt x="21" y="5"/>
                        <a:pt x="17" y="0"/>
                        <a:pt x="11" y="1"/>
                      </a:cubicBezTo>
                      <a:cubicBezTo>
                        <a:pt x="4" y="1"/>
                        <a:pt x="0" y="7"/>
                        <a:pt x="0" y="13"/>
                      </a:cubicBezTo>
                      <a:cubicBezTo>
                        <a:pt x="0" y="19"/>
                        <a:pt x="5" y="23"/>
                        <a:pt x="11" y="23"/>
                      </a:cubicBezTo>
                    </a:path>
                  </a:pathLst>
                </a:custGeom>
                <a:noFill/>
                <a:ln w="9525" cap="flat">
                  <a:solidFill>
                    <a:srgbClr val="00B0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b="1"/>
                </a:p>
              </p:txBody>
            </p:sp>
            <p:sp>
              <p:nvSpPr>
                <p:cNvPr id="222" name="Freeform 214">
                  <a:extLst>
                    <a:ext uri="{FF2B5EF4-FFF2-40B4-BE49-F238E27FC236}">
                      <a16:creationId xmlns:a16="http://schemas.microsoft.com/office/drawing/2014/main" id="{A6D1CD2B-B14E-4EFF-8488-514A7EB5F02F}"/>
                    </a:ext>
                  </a:extLst>
                </p:cNvPr>
                <p:cNvSpPr>
                  <a:spLocks/>
                </p:cNvSpPr>
                <p:nvPr/>
              </p:nvSpPr>
              <p:spPr bwMode="auto">
                <a:xfrm>
                  <a:off x="6721476" y="3471863"/>
                  <a:ext cx="65088" cy="71438"/>
                </a:xfrm>
                <a:custGeom>
                  <a:avLst/>
                  <a:gdLst>
                    <a:gd name="T0" fmla="*/ 11 w 41"/>
                    <a:gd name="T1" fmla="*/ 0 h 45"/>
                    <a:gd name="T2" fmla="*/ 0 w 41"/>
                    <a:gd name="T3" fmla="*/ 45 h 45"/>
                    <a:gd name="T4" fmla="*/ 41 w 41"/>
                    <a:gd name="T5" fmla="*/ 45 h 45"/>
                    <a:gd name="T6" fmla="*/ 28 w 41"/>
                    <a:gd name="T7" fmla="*/ 0 h 45"/>
                    <a:gd name="T8" fmla="*/ 11 w 41"/>
                    <a:gd name="T9" fmla="*/ 0 h 45"/>
                    <a:gd name="T10" fmla="*/ 11 w 41"/>
                    <a:gd name="T11" fmla="*/ 0 h 45"/>
                    <a:gd name="T12" fmla="*/ 11 w 41"/>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1" h="45">
                      <a:moveTo>
                        <a:pt x="11" y="0"/>
                      </a:moveTo>
                      <a:lnTo>
                        <a:pt x="0" y="45"/>
                      </a:lnTo>
                      <a:lnTo>
                        <a:pt x="41" y="45"/>
                      </a:lnTo>
                      <a:lnTo>
                        <a:pt x="28" y="0"/>
                      </a:lnTo>
                      <a:lnTo>
                        <a:pt x="11" y="0"/>
                      </a:lnTo>
                      <a:lnTo>
                        <a:pt x="11" y="0"/>
                      </a:lnTo>
                      <a:lnTo>
                        <a:pt x="11" y="0"/>
                      </a:ln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223" name="Freeform 215">
                  <a:extLst>
                    <a:ext uri="{FF2B5EF4-FFF2-40B4-BE49-F238E27FC236}">
                      <a16:creationId xmlns:a16="http://schemas.microsoft.com/office/drawing/2014/main" id="{436A1870-FD50-4F9C-97E5-7E29D0B9499C}"/>
                    </a:ext>
                  </a:extLst>
                </p:cNvPr>
                <p:cNvSpPr>
                  <a:spLocks/>
                </p:cNvSpPr>
                <p:nvPr/>
              </p:nvSpPr>
              <p:spPr bwMode="auto">
                <a:xfrm>
                  <a:off x="6721476" y="3471863"/>
                  <a:ext cx="65088" cy="71438"/>
                </a:xfrm>
                <a:custGeom>
                  <a:avLst/>
                  <a:gdLst>
                    <a:gd name="T0" fmla="*/ 11 w 41"/>
                    <a:gd name="T1" fmla="*/ 0 h 45"/>
                    <a:gd name="T2" fmla="*/ 0 w 41"/>
                    <a:gd name="T3" fmla="*/ 45 h 45"/>
                    <a:gd name="T4" fmla="*/ 41 w 41"/>
                    <a:gd name="T5" fmla="*/ 45 h 45"/>
                    <a:gd name="T6" fmla="*/ 28 w 41"/>
                    <a:gd name="T7" fmla="*/ 0 h 45"/>
                    <a:gd name="T8" fmla="*/ 11 w 41"/>
                    <a:gd name="T9" fmla="*/ 0 h 45"/>
                    <a:gd name="T10" fmla="*/ 11 w 41"/>
                    <a:gd name="T11" fmla="*/ 0 h 45"/>
                    <a:gd name="T12" fmla="*/ 11 w 41"/>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1" h="45">
                      <a:moveTo>
                        <a:pt x="11" y="0"/>
                      </a:moveTo>
                      <a:lnTo>
                        <a:pt x="0" y="45"/>
                      </a:lnTo>
                      <a:lnTo>
                        <a:pt x="41" y="45"/>
                      </a:lnTo>
                      <a:lnTo>
                        <a:pt x="28" y="0"/>
                      </a:lnTo>
                      <a:lnTo>
                        <a:pt x="11" y="0"/>
                      </a:lnTo>
                      <a:lnTo>
                        <a:pt x="11" y="0"/>
                      </a:lnTo>
                      <a:lnTo>
                        <a:pt x="11" y="0"/>
                      </a:lnTo>
                      <a:close/>
                    </a:path>
                  </a:pathLst>
                </a:custGeom>
                <a:solidFill>
                  <a:srgbClr val="00B0F0"/>
                </a:solidFill>
                <a:ln w="9525" cap="flat">
                  <a:solidFill>
                    <a:srgbClr val="00B0F0"/>
                  </a:solidFill>
                  <a:prstDash val="solid"/>
                  <a:round/>
                  <a:headEnd/>
                  <a:tailEnd/>
                </a:ln>
              </p:spPr>
              <p:txBody>
                <a:bodyPr vert="horz" wrap="square" lIns="91440" tIns="45720" rIns="91440" bIns="45720" numCol="1" anchor="t" anchorCtr="0" compatLnSpc="1">
                  <a:prstTxWarp prst="textNoShape">
                    <a:avLst/>
                  </a:prstTxWarp>
                </a:bodyPr>
                <a:lstStyle/>
                <a:p>
                  <a:endParaRPr lang="en-US" b="1" dirty="0"/>
                </a:p>
              </p:txBody>
            </p:sp>
          </p:grpSp>
        </p:grpSp>
      </p:grpSp>
      <p:grpSp>
        <p:nvGrpSpPr>
          <p:cNvPr id="224" name="Groupe 223">
            <a:extLst>
              <a:ext uri="{FF2B5EF4-FFF2-40B4-BE49-F238E27FC236}">
                <a16:creationId xmlns:a16="http://schemas.microsoft.com/office/drawing/2014/main" id="{B4D81E69-5975-4734-8785-47C612096D45}"/>
              </a:ext>
            </a:extLst>
          </p:cNvPr>
          <p:cNvGrpSpPr/>
          <p:nvPr/>
        </p:nvGrpSpPr>
        <p:grpSpPr>
          <a:xfrm>
            <a:off x="5612577" y="1959134"/>
            <a:ext cx="2041665" cy="2263844"/>
            <a:chOff x="5163935" y="2213454"/>
            <a:chExt cx="1864129" cy="2263844"/>
          </a:xfrm>
        </p:grpSpPr>
        <p:sp>
          <p:nvSpPr>
            <p:cNvPr id="225" name="Rectangle 224">
              <a:extLst>
                <a:ext uri="{FF2B5EF4-FFF2-40B4-BE49-F238E27FC236}">
                  <a16:creationId xmlns:a16="http://schemas.microsoft.com/office/drawing/2014/main" id="{C50BCC3C-E256-466C-B4B8-C40AFE937A84}"/>
                </a:ext>
              </a:extLst>
            </p:cNvPr>
            <p:cNvSpPr/>
            <p:nvPr/>
          </p:nvSpPr>
          <p:spPr>
            <a:xfrm>
              <a:off x="5163935" y="2213454"/>
              <a:ext cx="1864129" cy="646331"/>
            </a:xfrm>
            <a:prstGeom prst="rect">
              <a:avLst/>
            </a:prstGeom>
          </p:spPr>
          <p:txBody>
            <a:bodyPr wrap="square">
              <a:spAutoFit/>
            </a:bodyPr>
            <a:lstStyle/>
            <a:p>
              <a:pPr algn="ctr"/>
              <a:r>
                <a:rPr lang="fr-FR"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Automatiser les processus </a:t>
              </a:r>
            </a:p>
          </p:txBody>
        </p:sp>
        <p:grpSp>
          <p:nvGrpSpPr>
            <p:cNvPr id="226" name="Group 592">
              <a:extLst>
                <a:ext uri="{FF2B5EF4-FFF2-40B4-BE49-F238E27FC236}">
                  <a16:creationId xmlns:a16="http://schemas.microsoft.com/office/drawing/2014/main" id="{8E192B68-7161-4D23-A3F2-315ADB6EACEE}"/>
                </a:ext>
              </a:extLst>
            </p:cNvPr>
            <p:cNvGrpSpPr>
              <a:grpSpLocks noChangeAspect="1"/>
            </p:cNvGrpSpPr>
            <p:nvPr/>
          </p:nvGrpSpPr>
          <p:grpSpPr>
            <a:xfrm>
              <a:off x="5557698" y="3394173"/>
              <a:ext cx="1027514" cy="1083125"/>
              <a:chOff x="7600809" y="4632328"/>
              <a:chExt cx="707817" cy="746126"/>
            </a:xfrm>
          </p:grpSpPr>
          <p:sp>
            <p:nvSpPr>
              <p:cNvPr id="227" name="Freeform 164">
                <a:extLst>
                  <a:ext uri="{FF2B5EF4-FFF2-40B4-BE49-F238E27FC236}">
                    <a16:creationId xmlns:a16="http://schemas.microsoft.com/office/drawing/2014/main" id="{EA163052-CFC5-4014-B2E7-DA0A92AE8C27}"/>
                  </a:ext>
                </a:extLst>
              </p:cNvPr>
              <p:cNvSpPr>
                <a:spLocks/>
              </p:cNvSpPr>
              <p:nvPr/>
            </p:nvSpPr>
            <p:spPr bwMode="auto">
              <a:xfrm>
                <a:off x="7600809" y="4632328"/>
                <a:ext cx="707817" cy="746126"/>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en-US" b="1" dirty="0"/>
              </a:p>
            </p:txBody>
          </p:sp>
          <p:sp>
            <p:nvSpPr>
              <p:cNvPr id="228" name="Freeform 165">
                <a:extLst>
                  <a:ext uri="{FF2B5EF4-FFF2-40B4-BE49-F238E27FC236}">
                    <a16:creationId xmlns:a16="http://schemas.microsoft.com/office/drawing/2014/main" id="{B4D7346E-CE0F-4E5D-B35C-309E3B5CDA4C}"/>
                  </a:ext>
                </a:extLst>
              </p:cNvPr>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b="1"/>
              </a:p>
            </p:txBody>
          </p:sp>
          <p:sp>
            <p:nvSpPr>
              <p:cNvPr id="229" name="Freeform 166">
                <a:extLst>
                  <a:ext uri="{FF2B5EF4-FFF2-40B4-BE49-F238E27FC236}">
                    <a16:creationId xmlns:a16="http://schemas.microsoft.com/office/drawing/2014/main" id="{D347BAD6-89A0-42C1-8D04-CEA99F25CA29}"/>
                  </a:ext>
                </a:extLst>
              </p:cNvPr>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b="1"/>
              </a:p>
            </p:txBody>
          </p:sp>
          <p:sp>
            <p:nvSpPr>
              <p:cNvPr id="230" name="Freeform 167">
                <a:extLst>
                  <a:ext uri="{FF2B5EF4-FFF2-40B4-BE49-F238E27FC236}">
                    <a16:creationId xmlns:a16="http://schemas.microsoft.com/office/drawing/2014/main" id="{E48550F7-5FC2-4B8C-AA63-B609390A8A2E}"/>
                  </a:ext>
                </a:extLst>
              </p:cNvPr>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1"/>
              </a:p>
            </p:txBody>
          </p:sp>
          <p:sp>
            <p:nvSpPr>
              <p:cNvPr id="231" name="Freeform 168">
                <a:extLst>
                  <a:ext uri="{FF2B5EF4-FFF2-40B4-BE49-F238E27FC236}">
                    <a16:creationId xmlns:a16="http://schemas.microsoft.com/office/drawing/2014/main" id="{A7093F54-39B4-43DD-BE65-465A4448B1FD}"/>
                  </a:ext>
                </a:extLst>
              </p:cNvPr>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b="1"/>
              </a:p>
            </p:txBody>
          </p:sp>
          <p:sp>
            <p:nvSpPr>
              <p:cNvPr id="232" name="Freeform 169">
                <a:extLst>
                  <a:ext uri="{FF2B5EF4-FFF2-40B4-BE49-F238E27FC236}">
                    <a16:creationId xmlns:a16="http://schemas.microsoft.com/office/drawing/2014/main" id="{4701DE4C-25D4-40A3-887C-B83EC3C61B16}"/>
                  </a:ext>
                </a:extLst>
              </p:cNvPr>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sp>
            <p:nvSpPr>
              <p:cNvPr id="233" name="Oval 170">
                <a:extLst>
                  <a:ext uri="{FF2B5EF4-FFF2-40B4-BE49-F238E27FC236}">
                    <a16:creationId xmlns:a16="http://schemas.microsoft.com/office/drawing/2014/main" id="{D47DCCC7-3DFA-486F-8B38-39107BAA4F84}"/>
                  </a:ext>
                </a:extLst>
              </p:cNvPr>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grpSp>
      </p:grpSp>
      <p:grpSp>
        <p:nvGrpSpPr>
          <p:cNvPr id="254" name="Groupe 253">
            <a:extLst>
              <a:ext uri="{FF2B5EF4-FFF2-40B4-BE49-F238E27FC236}">
                <a16:creationId xmlns:a16="http://schemas.microsoft.com/office/drawing/2014/main" id="{C7BB6501-283A-4956-ACBE-2F5811D16BEC}"/>
              </a:ext>
            </a:extLst>
          </p:cNvPr>
          <p:cNvGrpSpPr/>
          <p:nvPr/>
        </p:nvGrpSpPr>
        <p:grpSpPr>
          <a:xfrm>
            <a:off x="3973758" y="2103254"/>
            <a:ext cx="1589881" cy="2081092"/>
            <a:chOff x="4068628" y="1364812"/>
            <a:chExt cx="1589881" cy="2081092"/>
          </a:xfrm>
        </p:grpSpPr>
        <p:pic>
          <p:nvPicPr>
            <p:cNvPr id="255" name="Image 254">
              <a:extLst>
                <a:ext uri="{FF2B5EF4-FFF2-40B4-BE49-F238E27FC236}">
                  <a16:creationId xmlns:a16="http://schemas.microsoft.com/office/drawing/2014/main" id="{2561ED38-528B-493D-B011-FB4E44387671}"/>
                </a:ext>
              </a:extLst>
            </p:cNvPr>
            <p:cNvPicPr>
              <a:picLocks noChangeAspect="1"/>
            </p:cNvPicPr>
            <p:nvPr/>
          </p:nvPicPr>
          <p:blipFill>
            <a:blip r:embed="rId6"/>
            <a:stretch>
              <a:fillRect/>
            </a:stretch>
          </p:blipFill>
          <p:spPr>
            <a:xfrm>
              <a:off x="4428459" y="2420888"/>
              <a:ext cx="870218" cy="1025016"/>
            </a:xfrm>
            <a:prstGeom prst="rect">
              <a:avLst/>
            </a:prstGeom>
          </p:spPr>
        </p:pic>
        <p:sp>
          <p:nvSpPr>
            <p:cNvPr id="256" name="Rectangle 255">
              <a:extLst>
                <a:ext uri="{FF2B5EF4-FFF2-40B4-BE49-F238E27FC236}">
                  <a16:creationId xmlns:a16="http://schemas.microsoft.com/office/drawing/2014/main" id="{51FAB88D-9789-49D8-8CD7-6A3764F829DE}"/>
                </a:ext>
              </a:extLst>
            </p:cNvPr>
            <p:cNvSpPr/>
            <p:nvPr/>
          </p:nvSpPr>
          <p:spPr>
            <a:xfrm>
              <a:off x="4068628" y="1364812"/>
              <a:ext cx="1589881" cy="646331"/>
            </a:xfrm>
            <a:prstGeom prst="rect">
              <a:avLst/>
            </a:prstGeom>
          </p:spPr>
          <p:txBody>
            <a:bodyPr wrap="square">
              <a:spAutoFit/>
            </a:bodyPr>
            <a:lstStyle/>
            <a:p>
              <a:pPr algn="ctr"/>
              <a:r>
                <a:rPr lang="fr-FR"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Solution de software</a:t>
              </a:r>
            </a:p>
          </p:txBody>
        </p:sp>
      </p:grpSp>
      <p:grpSp>
        <p:nvGrpSpPr>
          <p:cNvPr id="257" name="Groupe 256">
            <a:extLst>
              <a:ext uri="{FF2B5EF4-FFF2-40B4-BE49-F238E27FC236}">
                <a16:creationId xmlns:a16="http://schemas.microsoft.com/office/drawing/2014/main" id="{399A397B-DA1E-4C67-A67B-98BC3C24BE87}"/>
              </a:ext>
            </a:extLst>
          </p:cNvPr>
          <p:cNvGrpSpPr/>
          <p:nvPr/>
        </p:nvGrpSpPr>
        <p:grpSpPr>
          <a:xfrm>
            <a:off x="7054674" y="2069672"/>
            <a:ext cx="2041665" cy="2104429"/>
            <a:chOff x="8755415" y="1364812"/>
            <a:chExt cx="2041665" cy="2104429"/>
          </a:xfrm>
        </p:grpSpPr>
        <p:sp>
          <p:nvSpPr>
            <p:cNvPr id="258" name="Rectangle 257">
              <a:extLst>
                <a:ext uri="{FF2B5EF4-FFF2-40B4-BE49-F238E27FC236}">
                  <a16:creationId xmlns:a16="http://schemas.microsoft.com/office/drawing/2014/main" id="{92A417E0-BBA5-441A-BAA9-360EE824ED62}"/>
                </a:ext>
              </a:extLst>
            </p:cNvPr>
            <p:cNvSpPr/>
            <p:nvPr/>
          </p:nvSpPr>
          <p:spPr>
            <a:xfrm>
              <a:off x="8755415" y="1364812"/>
              <a:ext cx="2041665" cy="923330"/>
            </a:xfrm>
            <a:prstGeom prst="rect">
              <a:avLst/>
            </a:prstGeom>
          </p:spPr>
          <p:txBody>
            <a:bodyPr wrap="square">
              <a:spAutoFit/>
            </a:bodyPr>
            <a:lstStyle/>
            <a:p>
              <a:pPr algn="ctr"/>
              <a:r>
                <a:rPr lang="fr-FR"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Solution</a:t>
              </a:r>
            </a:p>
            <a:p>
              <a:pPr algn="ctr"/>
              <a:r>
                <a:rPr lang="fr-FR"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People ,Tools &amp; Organisation</a:t>
              </a:r>
            </a:p>
          </p:txBody>
        </p:sp>
        <p:pic>
          <p:nvPicPr>
            <p:cNvPr id="259" name="Image 258" descr="Une image contenant pièce&#10;&#10;Description générée automatiquement">
              <a:extLst>
                <a:ext uri="{FF2B5EF4-FFF2-40B4-BE49-F238E27FC236}">
                  <a16:creationId xmlns:a16="http://schemas.microsoft.com/office/drawing/2014/main" id="{4A3F453E-4B82-4171-A1CC-E2EA7593876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04139" y="2420889"/>
              <a:ext cx="1944216" cy="1048352"/>
            </a:xfrm>
            <a:prstGeom prst="rect">
              <a:avLst/>
            </a:prstGeom>
          </p:spPr>
        </p:pic>
      </p:grpSp>
      <p:grpSp>
        <p:nvGrpSpPr>
          <p:cNvPr id="260" name="Groupe 259">
            <a:extLst>
              <a:ext uri="{FF2B5EF4-FFF2-40B4-BE49-F238E27FC236}">
                <a16:creationId xmlns:a16="http://schemas.microsoft.com/office/drawing/2014/main" id="{0B6983E2-DA14-4E34-8560-F37A11142773}"/>
              </a:ext>
            </a:extLst>
          </p:cNvPr>
          <p:cNvGrpSpPr/>
          <p:nvPr/>
        </p:nvGrpSpPr>
        <p:grpSpPr>
          <a:xfrm>
            <a:off x="5288324" y="2103254"/>
            <a:ext cx="2041665" cy="2016933"/>
            <a:chOff x="6144946" y="1369278"/>
            <a:chExt cx="2041665" cy="2016933"/>
          </a:xfrm>
        </p:grpSpPr>
        <p:sp>
          <p:nvSpPr>
            <p:cNvPr id="261" name="Rectangle 260">
              <a:extLst>
                <a:ext uri="{FF2B5EF4-FFF2-40B4-BE49-F238E27FC236}">
                  <a16:creationId xmlns:a16="http://schemas.microsoft.com/office/drawing/2014/main" id="{3BE69D0E-4816-47FF-B44E-252B9E8A3F59}"/>
                </a:ext>
              </a:extLst>
            </p:cNvPr>
            <p:cNvSpPr/>
            <p:nvPr/>
          </p:nvSpPr>
          <p:spPr>
            <a:xfrm>
              <a:off x="6144946" y="1369278"/>
              <a:ext cx="2041665" cy="923330"/>
            </a:xfrm>
            <a:prstGeom prst="rect">
              <a:avLst/>
            </a:prstGeom>
          </p:spPr>
          <p:txBody>
            <a:bodyPr wrap="square">
              <a:spAutoFit/>
            </a:bodyPr>
            <a:lstStyle/>
            <a:p>
              <a:pPr algn="ctr"/>
              <a:r>
                <a:rPr lang="fr-FR"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Solution Méthodologie</a:t>
              </a:r>
            </a:p>
            <a:p>
              <a:pPr algn="ctr"/>
              <a:endParaRPr lang="fr-FR"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endParaRPr>
            </a:p>
          </p:txBody>
        </p:sp>
        <p:grpSp>
          <p:nvGrpSpPr>
            <p:cNvPr id="262" name="Groupe 261">
              <a:extLst>
                <a:ext uri="{FF2B5EF4-FFF2-40B4-BE49-F238E27FC236}">
                  <a16:creationId xmlns:a16="http://schemas.microsoft.com/office/drawing/2014/main" id="{2958D6BF-191C-4D01-B97E-47AE387B28E6}"/>
                </a:ext>
              </a:extLst>
            </p:cNvPr>
            <p:cNvGrpSpPr/>
            <p:nvPr/>
          </p:nvGrpSpPr>
          <p:grpSpPr>
            <a:xfrm>
              <a:off x="6677376" y="2425354"/>
              <a:ext cx="976805" cy="960857"/>
              <a:chOff x="6830875" y="2425354"/>
              <a:chExt cx="976805" cy="960857"/>
            </a:xfrm>
          </p:grpSpPr>
          <p:pic>
            <p:nvPicPr>
              <p:cNvPr id="263" name="Image 262" descr="Une image contenant capture d’écran&#10;&#10;Description générée automatiquement">
                <a:extLst>
                  <a:ext uri="{FF2B5EF4-FFF2-40B4-BE49-F238E27FC236}">
                    <a16:creationId xmlns:a16="http://schemas.microsoft.com/office/drawing/2014/main" id="{3C6A46A7-E788-42CF-9D36-666FAAA2B49F}"/>
                  </a:ext>
                </a:extLst>
              </p:cNvPr>
              <p:cNvPicPr>
                <a:picLocks noChangeAspect="1"/>
              </p:cNvPicPr>
              <p:nvPr/>
            </p:nvPicPr>
            <p:blipFill rotWithShape="1">
              <a:blip r:embed="rId8">
                <a:extLst>
                  <a:ext uri="{28A0092B-C50C-407E-A947-70E740481C1C}">
                    <a14:useLocalDpi xmlns:a14="http://schemas.microsoft.com/office/drawing/2010/main" val="0"/>
                  </a:ext>
                </a:extLst>
              </a:blip>
              <a:srcRect l="6278" t="13151" r="55479" b="27204"/>
              <a:stretch/>
            </p:blipFill>
            <p:spPr>
              <a:xfrm>
                <a:off x="6830875" y="2425354"/>
                <a:ext cx="976805" cy="960857"/>
              </a:xfrm>
              <a:prstGeom prst="ellipse">
                <a:avLst/>
              </a:prstGeom>
              <a:effectLst>
                <a:outerShdw blurRad="50800" dist="38100" dir="2700000" algn="tl" rotWithShape="0">
                  <a:prstClr val="black">
                    <a:alpha val="40000"/>
                  </a:prstClr>
                </a:outerShdw>
              </a:effectLst>
            </p:spPr>
          </p:pic>
          <p:sp>
            <p:nvSpPr>
              <p:cNvPr id="264" name="ZoneTexte 263">
                <a:extLst>
                  <a:ext uri="{FF2B5EF4-FFF2-40B4-BE49-F238E27FC236}">
                    <a16:creationId xmlns:a16="http://schemas.microsoft.com/office/drawing/2014/main" id="{38636923-10FF-4763-B170-D55031DF6017}"/>
                  </a:ext>
                </a:extLst>
              </p:cNvPr>
              <p:cNvSpPr txBox="1"/>
              <p:nvPr/>
            </p:nvSpPr>
            <p:spPr>
              <a:xfrm>
                <a:off x="7057831" y="2778824"/>
                <a:ext cx="522893" cy="253916"/>
              </a:xfrm>
              <a:prstGeom prst="rect">
                <a:avLst/>
              </a:prstGeom>
              <a:solidFill>
                <a:schemeClr val="bg1"/>
              </a:solidFill>
            </p:spPr>
            <p:txBody>
              <a:bodyPr wrap="square" rtlCol="0">
                <a:spAutoFit/>
              </a:bodyPr>
              <a:lstStyle/>
              <a:p>
                <a:r>
                  <a:rPr lang="fr-FR" sz="1050" b="1" dirty="0">
                    <a:solidFill>
                      <a:srgbClr val="002060"/>
                    </a:solidFill>
                    <a:latin typeface="Arial Nova" panose="020B0504020202020204" pitchFamily="34" charset="0"/>
                  </a:rPr>
                  <a:t>Agile</a:t>
                </a:r>
              </a:p>
            </p:txBody>
          </p:sp>
        </p:grpSp>
      </p:grpSp>
    </p:spTree>
    <p:extLst>
      <p:ext uri="{BB962C8B-B14F-4D97-AF65-F5344CB8AC3E}">
        <p14:creationId xmlns:p14="http://schemas.microsoft.com/office/powerpoint/2010/main" val="3157280742"/>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p:cTn id="7" dur="500" fill="hold"/>
                                        <p:tgtEl>
                                          <p:spTgt spid="59"/>
                                        </p:tgtEl>
                                        <p:attrNameLst>
                                          <p:attrName>ppt_w</p:attrName>
                                        </p:attrNameLst>
                                      </p:cBhvr>
                                      <p:tavLst>
                                        <p:tav tm="0">
                                          <p:val>
                                            <p:fltVal val="0"/>
                                          </p:val>
                                        </p:tav>
                                        <p:tav tm="100000">
                                          <p:val>
                                            <p:strVal val="#ppt_w"/>
                                          </p:val>
                                        </p:tav>
                                      </p:tavLst>
                                    </p:anim>
                                    <p:anim calcmode="lin" valueType="num">
                                      <p:cBhvr>
                                        <p:cTn id="8" dur="500" fill="hold"/>
                                        <p:tgtEl>
                                          <p:spTgt spid="59"/>
                                        </p:tgtEl>
                                        <p:attrNameLst>
                                          <p:attrName>ppt_h</p:attrName>
                                        </p:attrNameLst>
                                      </p:cBhvr>
                                      <p:tavLst>
                                        <p:tav tm="0">
                                          <p:val>
                                            <p:fltVal val="0"/>
                                          </p:val>
                                        </p:tav>
                                        <p:tav tm="100000">
                                          <p:val>
                                            <p:strVal val="#ppt_h"/>
                                          </p:val>
                                        </p:tav>
                                      </p:tavLst>
                                    </p:anim>
                                    <p:animEffect transition="in" filter="fade">
                                      <p:cBhvr>
                                        <p:cTn id="9" dur="500"/>
                                        <p:tgtEl>
                                          <p:spTgt spid="59"/>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60"/>
                                        </p:tgtEl>
                                        <p:attrNameLst>
                                          <p:attrName>style.visibility</p:attrName>
                                        </p:attrNameLst>
                                      </p:cBhvr>
                                      <p:to>
                                        <p:strVal val="visible"/>
                                      </p:to>
                                    </p:set>
                                    <p:anim calcmode="lin" valueType="num">
                                      <p:cBhvr>
                                        <p:cTn id="14" dur="500" fill="hold"/>
                                        <p:tgtEl>
                                          <p:spTgt spid="60"/>
                                        </p:tgtEl>
                                        <p:attrNameLst>
                                          <p:attrName>ppt_w</p:attrName>
                                        </p:attrNameLst>
                                      </p:cBhvr>
                                      <p:tavLst>
                                        <p:tav tm="0">
                                          <p:val>
                                            <p:fltVal val="0"/>
                                          </p:val>
                                        </p:tav>
                                        <p:tav tm="100000">
                                          <p:val>
                                            <p:strVal val="#ppt_w"/>
                                          </p:val>
                                        </p:tav>
                                      </p:tavLst>
                                    </p:anim>
                                    <p:anim calcmode="lin" valueType="num">
                                      <p:cBhvr>
                                        <p:cTn id="15" dur="500" fill="hold"/>
                                        <p:tgtEl>
                                          <p:spTgt spid="60"/>
                                        </p:tgtEl>
                                        <p:attrNameLst>
                                          <p:attrName>ppt_h</p:attrName>
                                        </p:attrNameLst>
                                      </p:cBhvr>
                                      <p:tavLst>
                                        <p:tav tm="0">
                                          <p:val>
                                            <p:fltVal val="0"/>
                                          </p:val>
                                        </p:tav>
                                        <p:tav tm="100000">
                                          <p:val>
                                            <p:strVal val="#ppt_h"/>
                                          </p:val>
                                        </p:tav>
                                      </p:tavLst>
                                    </p:anim>
                                    <p:animEffect transition="in" filter="fade">
                                      <p:cBhvr>
                                        <p:cTn id="16" dur="500"/>
                                        <p:tgtEl>
                                          <p:spTgt spid="60"/>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61"/>
                                        </p:tgtEl>
                                        <p:attrNameLst>
                                          <p:attrName>style.visibility</p:attrName>
                                        </p:attrNameLst>
                                      </p:cBhvr>
                                      <p:to>
                                        <p:strVal val="visible"/>
                                      </p:to>
                                    </p:set>
                                    <p:anim calcmode="lin" valueType="num">
                                      <p:cBhvr>
                                        <p:cTn id="21" dur="500" fill="hold"/>
                                        <p:tgtEl>
                                          <p:spTgt spid="61"/>
                                        </p:tgtEl>
                                        <p:attrNameLst>
                                          <p:attrName>ppt_w</p:attrName>
                                        </p:attrNameLst>
                                      </p:cBhvr>
                                      <p:tavLst>
                                        <p:tav tm="0">
                                          <p:val>
                                            <p:fltVal val="0"/>
                                          </p:val>
                                        </p:tav>
                                        <p:tav tm="100000">
                                          <p:val>
                                            <p:strVal val="#ppt_w"/>
                                          </p:val>
                                        </p:tav>
                                      </p:tavLst>
                                    </p:anim>
                                    <p:anim calcmode="lin" valueType="num">
                                      <p:cBhvr>
                                        <p:cTn id="22" dur="500" fill="hold"/>
                                        <p:tgtEl>
                                          <p:spTgt spid="61"/>
                                        </p:tgtEl>
                                        <p:attrNameLst>
                                          <p:attrName>ppt_h</p:attrName>
                                        </p:attrNameLst>
                                      </p:cBhvr>
                                      <p:tavLst>
                                        <p:tav tm="0">
                                          <p:val>
                                            <p:fltVal val="0"/>
                                          </p:val>
                                        </p:tav>
                                        <p:tav tm="100000">
                                          <p:val>
                                            <p:strVal val="#ppt_h"/>
                                          </p:val>
                                        </p:tav>
                                      </p:tavLst>
                                    </p:anim>
                                    <p:animEffect transition="in" filter="fade">
                                      <p:cBhvr>
                                        <p:cTn id="23" dur="500"/>
                                        <p:tgtEl>
                                          <p:spTgt spid="61"/>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63"/>
                                        </p:tgtEl>
                                        <p:attrNameLst>
                                          <p:attrName>style.visibility</p:attrName>
                                        </p:attrNameLst>
                                      </p:cBhvr>
                                      <p:to>
                                        <p:strVal val="visible"/>
                                      </p:to>
                                    </p:set>
                                    <p:anim calcmode="lin" valueType="num">
                                      <p:cBhvr>
                                        <p:cTn id="28" dur="500" fill="hold"/>
                                        <p:tgtEl>
                                          <p:spTgt spid="63"/>
                                        </p:tgtEl>
                                        <p:attrNameLst>
                                          <p:attrName>ppt_w</p:attrName>
                                        </p:attrNameLst>
                                      </p:cBhvr>
                                      <p:tavLst>
                                        <p:tav tm="0">
                                          <p:val>
                                            <p:fltVal val="0"/>
                                          </p:val>
                                        </p:tav>
                                        <p:tav tm="100000">
                                          <p:val>
                                            <p:strVal val="#ppt_w"/>
                                          </p:val>
                                        </p:tav>
                                      </p:tavLst>
                                    </p:anim>
                                    <p:anim calcmode="lin" valueType="num">
                                      <p:cBhvr>
                                        <p:cTn id="29" dur="500" fill="hold"/>
                                        <p:tgtEl>
                                          <p:spTgt spid="63"/>
                                        </p:tgtEl>
                                        <p:attrNameLst>
                                          <p:attrName>ppt_h</p:attrName>
                                        </p:attrNameLst>
                                      </p:cBhvr>
                                      <p:tavLst>
                                        <p:tav tm="0">
                                          <p:val>
                                            <p:fltVal val="0"/>
                                          </p:val>
                                        </p:tav>
                                        <p:tav tm="100000">
                                          <p:val>
                                            <p:strVal val="#ppt_h"/>
                                          </p:val>
                                        </p:tav>
                                      </p:tavLst>
                                    </p:anim>
                                    <p:animEffect transition="in" filter="fade">
                                      <p:cBhvr>
                                        <p:cTn id="30" dur="500"/>
                                        <p:tgtEl>
                                          <p:spTgt spid="63"/>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59"/>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60"/>
                                        </p:tgtEl>
                                        <p:attrNameLst>
                                          <p:attrName>style.visibility</p:attrName>
                                        </p:attrNameLst>
                                      </p:cBhvr>
                                      <p:to>
                                        <p:strVal val="hidden"/>
                                      </p:to>
                                    </p:set>
                                  </p:childTnLst>
                                </p:cTn>
                              </p:par>
                              <p:par>
                                <p:cTn id="37" presetID="1" presetClass="exit" presetSubtype="0" fill="hold" nodeType="withEffect">
                                  <p:stCondLst>
                                    <p:cond delay="0"/>
                                  </p:stCondLst>
                                  <p:childTnLst>
                                    <p:set>
                                      <p:cBhvr>
                                        <p:cTn id="38" dur="1" fill="hold">
                                          <p:stCondLst>
                                            <p:cond delay="0"/>
                                          </p:stCondLst>
                                        </p:cTn>
                                        <p:tgtEl>
                                          <p:spTgt spid="61"/>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35" presetClass="path" presetSubtype="0" accel="50000" decel="50000" fill="hold" nodeType="clickEffect">
                                  <p:stCondLst>
                                    <p:cond delay="0"/>
                                  </p:stCondLst>
                                  <p:childTnLst>
                                    <p:animMotion origin="layout" path="M -4.16667E-6 3.7037E-6 L -0.46445 -0.01042 " pathEditMode="relative" rAng="0" ptsTypes="AA">
                                      <p:cBhvr>
                                        <p:cTn id="42" dur="500" fill="hold"/>
                                        <p:tgtEl>
                                          <p:spTgt spid="63"/>
                                        </p:tgtEl>
                                        <p:attrNameLst>
                                          <p:attrName>ppt_x</p:attrName>
                                          <p:attrName>ppt_y</p:attrName>
                                        </p:attrNameLst>
                                      </p:cBhvr>
                                      <p:rCtr x="-23229" y="-532"/>
                                    </p:animMotion>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09"/>
                                        </p:tgtEl>
                                        <p:attrNameLst>
                                          <p:attrName>style.visibility</p:attrName>
                                        </p:attrNameLst>
                                      </p:cBhvr>
                                      <p:to>
                                        <p:strVal val="visible"/>
                                      </p:to>
                                    </p:set>
                                    <p:animEffect transition="in" filter="fade">
                                      <p:cBhvr>
                                        <p:cTn id="47" dur="500"/>
                                        <p:tgtEl>
                                          <p:spTgt spid="10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00"/>
                                        </p:tgtEl>
                                        <p:attrNameLst>
                                          <p:attrName>style.visibility</p:attrName>
                                        </p:attrNameLst>
                                      </p:cBhvr>
                                      <p:to>
                                        <p:strVal val="visible"/>
                                      </p:to>
                                    </p:set>
                                    <p:animEffect transition="in" filter="fade">
                                      <p:cBhvr>
                                        <p:cTn id="52" dur="500"/>
                                        <p:tgtEl>
                                          <p:spTgt spid="100"/>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90"/>
                                        </p:tgtEl>
                                        <p:attrNameLst>
                                          <p:attrName>style.visibility</p:attrName>
                                        </p:attrNameLst>
                                      </p:cBhvr>
                                      <p:to>
                                        <p:strVal val="visible"/>
                                      </p:to>
                                    </p:set>
                                    <p:animEffect transition="in" filter="fade">
                                      <p:cBhvr>
                                        <p:cTn id="57" dur="500"/>
                                        <p:tgtEl>
                                          <p:spTgt spid="90"/>
                                        </p:tgtEl>
                                      </p:cBhvr>
                                    </p:animEffect>
                                  </p:childTnLst>
                                </p:cTn>
                              </p:par>
                            </p:childTnLst>
                          </p:cTn>
                        </p:par>
                      </p:childTnLst>
                    </p:cTn>
                  </p:par>
                  <p:par>
                    <p:cTn id="58" fill="hold">
                      <p:stCondLst>
                        <p:cond delay="indefinite"/>
                      </p:stCondLst>
                      <p:childTnLst>
                        <p:par>
                          <p:cTn id="59" fill="hold">
                            <p:stCondLst>
                              <p:cond delay="0"/>
                            </p:stCondLst>
                            <p:childTnLst>
                              <p:par>
                                <p:cTn id="60" presetID="21" presetClass="entr" presetSubtype="1" fill="hold" nodeType="clickEffect">
                                  <p:stCondLst>
                                    <p:cond delay="0"/>
                                  </p:stCondLst>
                                  <p:childTnLst>
                                    <p:set>
                                      <p:cBhvr>
                                        <p:cTn id="61" dur="1" fill="hold">
                                          <p:stCondLst>
                                            <p:cond delay="0"/>
                                          </p:stCondLst>
                                        </p:cTn>
                                        <p:tgtEl>
                                          <p:spTgt spid="2"/>
                                        </p:tgtEl>
                                        <p:attrNameLst>
                                          <p:attrName>style.visibility</p:attrName>
                                        </p:attrNameLst>
                                      </p:cBhvr>
                                      <p:to>
                                        <p:strVal val="visible"/>
                                      </p:to>
                                    </p:set>
                                    <p:animEffect transition="in" filter="wheel(1)">
                                      <p:cBhvr>
                                        <p:cTn id="62" dur="1000"/>
                                        <p:tgtEl>
                                          <p:spTgt spid="2"/>
                                        </p:tgtEl>
                                      </p:cBhvr>
                                    </p:animEffect>
                                  </p:childTnLst>
                                </p:cTn>
                              </p:par>
                            </p:childTnLst>
                          </p:cTn>
                        </p:par>
                      </p:childTnLst>
                    </p:cTn>
                  </p:par>
                  <p:par>
                    <p:cTn id="63" fill="hold">
                      <p:stCondLst>
                        <p:cond delay="indefinite"/>
                      </p:stCondLst>
                      <p:childTnLst>
                        <p:par>
                          <p:cTn id="64" fill="hold">
                            <p:stCondLst>
                              <p:cond delay="0"/>
                            </p:stCondLst>
                            <p:childTnLst>
                              <p:par>
                                <p:cTn id="65" presetID="53" presetClass="entr" presetSubtype="16" fill="hold" grpId="0" nodeType="clickEffect">
                                  <p:stCondLst>
                                    <p:cond delay="0"/>
                                  </p:stCondLst>
                                  <p:childTnLst>
                                    <p:set>
                                      <p:cBhvr>
                                        <p:cTn id="66" dur="1" fill="hold">
                                          <p:stCondLst>
                                            <p:cond delay="0"/>
                                          </p:stCondLst>
                                        </p:cTn>
                                        <p:tgtEl>
                                          <p:spTgt spid="3"/>
                                        </p:tgtEl>
                                        <p:attrNameLst>
                                          <p:attrName>style.visibility</p:attrName>
                                        </p:attrNameLst>
                                      </p:cBhvr>
                                      <p:to>
                                        <p:strVal val="visible"/>
                                      </p:to>
                                    </p:set>
                                    <p:anim calcmode="lin" valueType="num">
                                      <p:cBhvr>
                                        <p:cTn id="67" dur="500" fill="hold"/>
                                        <p:tgtEl>
                                          <p:spTgt spid="3"/>
                                        </p:tgtEl>
                                        <p:attrNameLst>
                                          <p:attrName>ppt_w</p:attrName>
                                        </p:attrNameLst>
                                      </p:cBhvr>
                                      <p:tavLst>
                                        <p:tav tm="0">
                                          <p:val>
                                            <p:fltVal val="0"/>
                                          </p:val>
                                        </p:tav>
                                        <p:tav tm="100000">
                                          <p:val>
                                            <p:strVal val="#ppt_w"/>
                                          </p:val>
                                        </p:tav>
                                      </p:tavLst>
                                    </p:anim>
                                    <p:anim calcmode="lin" valueType="num">
                                      <p:cBhvr>
                                        <p:cTn id="68" dur="500" fill="hold"/>
                                        <p:tgtEl>
                                          <p:spTgt spid="3"/>
                                        </p:tgtEl>
                                        <p:attrNameLst>
                                          <p:attrName>ppt_h</p:attrName>
                                        </p:attrNameLst>
                                      </p:cBhvr>
                                      <p:tavLst>
                                        <p:tav tm="0">
                                          <p:val>
                                            <p:fltVal val="0"/>
                                          </p:val>
                                        </p:tav>
                                        <p:tav tm="100000">
                                          <p:val>
                                            <p:strVal val="#ppt_h"/>
                                          </p:val>
                                        </p:tav>
                                      </p:tavLst>
                                    </p:anim>
                                    <p:animEffect transition="in" filter="fade">
                                      <p:cBhvr>
                                        <p:cTn id="69" dur="500"/>
                                        <p:tgtEl>
                                          <p:spTgt spid="3"/>
                                        </p:tgtEl>
                                      </p:cBhvr>
                                    </p:animEffect>
                                  </p:childTnLst>
                                </p:cTn>
                              </p:par>
                            </p:childTnLst>
                          </p:cTn>
                        </p:par>
                      </p:childTnLst>
                    </p:cTn>
                  </p:par>
                  <p:par>
                    <p:cTn id="70" fill="hold">
                      <p:stCondLst>
                        <p:cond delay="indefinite"/>
                      </p:stCondLst>
                      <p:childTnLst>
                        <p:par>
                          <p:cTn id="71" fill="hold">
                            <p:stCondLst>
                              <p:cond delay="0"/>
                            </p:stCondLst>
                            <p:childTnLst>
                              <p:par>
                                <p:cTn id="72" presetID="53" presetClass="exit" presetSubtype="32" fill="hold" nodeType="clickEffect">
                                  <p:stCondLst>
                                    <p:cond delay="0"/>
                                  </p:stCondLst>
                                  <p:childTnLst>
                                    <p:anim calcmode="lin" valueType="num">
                                      <p:cBhvr>
                                        <p:cTn id="73" dur="500"/>
                                        <p:tgtEl>
                                          <p:spTgt spid="109"/>
                                        </p:tgtEl>
                                        <p:attrNameLst>
                                          <p:attrName>ppt_w</p:attrName>
                                        </p:attrNameLst>
                                      </p:cBhvr>
                                      <p:tavLst>
                                        <p:tav tm="0">
                                          <p:val>
                                            <p:strVal val="ppt_w"/>
                                          </p:val>
                                        </p:tav>
                                        <p:tav tm="100000">
                                          <p:val>
                                            <p:fltVal val="0"/>
                                          </p:val>
                                        </p:tav>
                                      </p:tavLst>
                                    </p:anim>
                                    <p:anim calcmode="lin" valueType="num">
                                      <p:cBhvr>
                                        <p:cTn id="74" dur="500"/>
                                        <p:tgtEl>
                                          <p:spTgt spid="109"/>
                                        </p:tgtEl>
                                        <p:attrNameLst>
                                          <p:attrName>ppt_h</p:attrName>
                                        </p:attrNameLst>
                                      </p:cBhvr>
                                      <p:tavLst>
                                        <p:tav tm="0">
                                          <p:val>
                                            <p:strVal val="ppt_h"/>
                                          </p:val>
                                        </p:tav>
                                        <p:tav tm="100000">
                                          <p:val>
                                            <p:fltVal val="0"/>
                                          </p:val>
                                        </p:tav>
                                      </p:tavLst>
                                    </p:anim>
                                    <p:animEffect transition="out" filter="fade">
                                      <p:cBhvr>
                                        <p:cTn id="75" dur="500"/>
                                        <p:tgtEl>
                                          <p:spTgt spid="109"/>
                                        </p:tgtEl>
                                      </p:cBhvr>
                                    </p:animEffect>
                                    <p:set>
                                      <p:cBhvr>
                                        <p:cTn id="76" dur="1" fill="hold">
                                          <p:stCondLst>
                                            <p:cond delay="499"/>
                                          </p:stCondLst>
                                        </p:cTn>
                                        <p:tgtEl>
                                          <p:spTgt spid="109"/>
                                        </p:tgtEl>
                                        <p:attrNameLst>
                                          <p:attrName>style.visibility</p:attrName>
                                        </p:attrNameLst>
                                      </p:cBhvr>
                                      <p:to>
                                        <p:strVal val="hidden"/>
                                      </p:to>
                                    </p:set>
                                  </p:childTnLst>
                                </p:cTn>
                              </p:par>
                              <p:par>
                                <p:cTn id="77" presetID="53" presetClass="exit" presetSubtype="32" fill="hold" nodeType="withEffect">
                                  <p:stCondLst>
                                    <p:cond delay="0"/>
                                  </p:stCondLst>
                                  <p:childTnLst>
                                    <p:anim calcmode="lin" valueType="num">
                                      <p:cBhvr>
                                        <p:cTn id="78" dur="500"/>
                                        <p:tgtEl>
                                          <p:spTgt spid="90"/>
                                        </p:tgtEl>
                                        <p:attrNameLst>
                                          <p:attrName>ppt_w</p:attrName>
                                        </p:attrNameLst>
                                      </p:cBhvr>
                                      <p:tavLst>
                                        <p:tav tm="0">
                                          <p:val>
                                            <p:strVal val="ppt_w"/>
                                          </p:val>
                                        </p:tav>
                                        <p:tav tm="100000">
                                          <p:val>
                                            <p:fltVal val="0"/>
                                          </p:val>
                                        </p:tav>
                                      </p:tavLst>
                                    </p:anim>
                                    <p:anim calcmode="lin" valueType="num">
                                      <p:cBhvr>
                                        <p:cTn id="79" dur="500"/>
                                        <p:tgtEl>
                                          <p:spTgt spid="90"/>
                                        </p:tgtEl>
                                        <p:attrNameLst>
                                          <p:attrName>ppt_h</p:attrName>
                                        </p:attrNameLst>
                                      </p:cBhvr>
                                      <p:tavLst>
                                        <p:tav tm="0">
                                          <p:val>
                                            <p:strVal val="ppt_h"/>
                                          </p:val>
                                        </p:tav>
                                        <p:tav tm="100000">
                                          <p:val>
                                            <p:fltVal val="0"/>
                                          </p:val>
                                        </p:tav>
                                      </p:tavLst>
                                    </p:anim>
                                    <p:animEffect transition="out" filter="fade">
                                      <p:cBhvr>
                                        <p:cTn id="80" dur="500"/>
                                        <p:tgtEl>
                                          <p:spTgt spid="90"/>
                                        </p:tgtEl>
                                      </p:cBhvr>
                                    </p:animEffect>
                                    <p:set>
                                      <p:cBhvr>
                                        <p:cTn id="81" dur="1" fill="hold">
                                          <p:stCondLst>
                                            <p:cond delay="499"/>
                                          </p:stCondLst>
                                        </p:cTn>
                                        <p:tgtEl>
                                          <p:spTgt spid="90"/>
                                        </p:tgtEl>
                                        <p:attrNameLst>
                                          <p:attrName>style.visibility</p:attrName>
                                        </p:attrNameLst>
                                      </p:cBhvr>
                                      <p:to>
                                        <p:strVal val="hidden"/>
                                      </p:to>
                                    </p:set>
                                  </p:childTnLst>
                                </p:cTn>
                              </p:par>
                              <p:par>
                                <p:cTn id="82" presetID="53" presetClass="exit" presetSubtype="32" fill="hold" nodeType="withEffect">
                                  <p:stCondLst>
                                    <p:cond delay="0"/>
                                  </p:stCondLst>
                                  <p:childTnLst>
                                    <p:anim calcmode="lin" valueType="num">
                                      <p:cBhvr>
                                        <p:cTn id="83" dur="500"/>
                                        <p:tgtEl>
                                          <p:spTgt spid="100"/>
                                        </p:tgtEl>
                                        <p:attrNameLst>
                                          <p:attrName>ppt_w</p:attrName>
                                        </p:attrNameLst>
                                      </p:cBhvr>
                                      <p:tavLst>
                                        <p:tav tm="0">
                                          <p:val>
                                            <p:strVal val="ppt_w"/>
                                          </p:val>
                                        </p:tav>
                                        <p:tav tm="100000">
                                          <p:val>
                                            <p:fltVal val="0"/>
                                          </p:val>
                                        </p:tav>
                                      </p:tavLst>
                                    </p:anim>
                                    <p:anim calcmode="lin" valueType="num">
                                      <p:cBhvr>
                                        <p:cTn id="84" dur="500"/>
                                        <p:tgtEl>
                                          <p:spTgt spid="100"/>
                                        </p:tgtEl>
                                        <p:attrNameLst>
                                          <p:attrName>ppt_h</p:attrName>
                                        </p:attrNameLst>
                                      </p:cBhvr>
                                      <p:tavLst>
                                        <p:tav tm="0">
                                          <p:val>
                                            <p:strVal val="ppt_h"/>
                                          </p:val>
                                        </p:tav>
                                        <p:tav tm="100000">
                                          <p:val>
                                            <p:fltVal val="0"/>
                                          </p:val>
                                        </p:tav>
                                      </p:tavLst>
                                    </p:anim>
                                    <p:animEffect transition="out" filter="fade">
                                      <p:cBhvr>
                                        <p:cTn id="85" dur="500"/>
                                        <p:tgtEl>
                                          <p:spTgt spid="100"/>
                                        </p:tgtEl>
                                      </p:cBhvr>
                                    </p:animEffect>
                                    <p:set>
                                      <p:cBhvr>
                                        <p:cTn id="86" dur="1" fill="hold">
                                          <p:stCondLst>
                                            <p:cond delay="499"/>
                                          </p:stCondLst>
                                        </p:cTn>
                                        <p:tgtEl>
                                          <p:spTgt spid="100"/>
                                        </p:tgtEl>
                                        <p:attrNameLst>
                                          <p:attrName>style.visibility</p:attrName>
                                        </p:attrNameLst>
                                      </p:cBhvr>
                                      <p:to>
                                        <p:strVal val="hidden"/>
                                      </p:to>
                                    </p:set>
                                  </p:childTnLst>
                                </p:cTn>
                              </p:par>
                            </p:childTnLst>
                          </p:cTn>
                        </p:par>
                      </p:childTnLst>
                    </p:cTn>
                  </p:par>
                  <p:par>
                    <p:cTn id="87" fill="hold">
                      <p:stCondLst>
                        <p:cond delay="indefinite"/>
                      </p:stCondLst>
                      <p:childTnLst>
                        <p:par>
                          <p:cTn id="88" fill="hold">
                            <p:stCondLst>
                              <p:cond delay="0"/>
                            </p:stCondLst>
                            <p:childTnLst>
                              <p:par>
                                <p:cTn id="89" presetID="53" presetClass="entr" presetSubtype="16" fill="hold" nodeType="clickEffect">
                                  <p:stCondLst>
                                    <p:cond delay="0"/>
                                  </p:stCondLst>
                                  <p:childTnLst>
                                    <p:set>
                                      <p:cBhvr>
                                        <p:cTn id="90" dur="1" fill="hold">
                                          <p:stCondLst>
                                            <p:cond delay="0"/>
                                          </p:stCondLst>
                                        </p:cTn>
                                        <p:tgtEl>
                                          <p:spTgt spid="205"/>
                                        </p:tgtEl>
                                        <p:attrNameLst>
                                          <p:attrName>style.visibility</p:attrName>
                                        </p:attrNameLst>
                                      </p:cBhvr>
                                      <p:to>
                                        <p:strVal val="visible"/>
                                      </p:to>
                                    </p:set>
                                    <p:anim calcmode="lin" valueType="num">
                                      <p:cBhvr>
                                        <p:cTn id="91" dur="500" fill="hold"/>
                                        <p:tgtEl>
                                          <p:spTgt spid="205"/>
                                        </p:tgtEl>
                                        <p:attrNameLst>
                                          <p:attrName>ppt_w</p:attrName>
                                        </p:attrNameLst>
                                      </p:cBhvr>
                                      <p:tavLst>
                                        <p:tav tm="0">
                                          <p:val>
                                            <p:fltVal val="0"/>
                                          </p:val>
                                        </p:tav>
                                        <p:tav tm="100000">
                                          <p:val>
                                            <p:strVal val="#ppt_w"/>
                                          </p:val>
                                        </p:tav>
                                      </p:tavLst>
                                    </p:anim>
                                    <p:anim calcmode="lin" valueType="num">
                                      <p:cBhvr>
                                        <p:cTn id="92" dur="500" fill="hold"/>
                                        <p:tgtEl>
                                          <p:spTgt spid="205"/>
                                        </p:tgtEl>
                                        <p:attrNameLst>
                                          <p:attrName>ppt_h</p:attrName>
                                        </p:attrNameLst>
                                      </p:cBhvr>
                                      <p:tavLst>
                                        <p:tav tm="0">
                                          <p:val>
                                            <p:fltVal val="0"/>
                                          </p:val>
                                        </p:tav>
                                        <p:tav tm="100000">
                                          <p:val>
                                            <p:strVal val="#ppt_h"/>
                                          </p:val>
                                        </p:tav>
                                      </p:tavLst>
                                    </p:anim>
                                    <p:animEffect transition="in" filter="fade">
                                      <p:cBhvr>
                                        <p:cTn id="93" dur="500"/>
                                        <p:tgtEl>
                                          <p:spTgt spid="205"/>
                                        </p:tgtEl>
                                      </p:cBhvr>
                                    </p:animEffect>
                                  </p:childTnLst>
                                </p:cTn>
                              </p:par>
                              <p:par>
                                <p:cTn id="94" presetID="53" presetClass="entr" presetSubtype="16" fill="hold" nodeType="withEffect">
                                  <p:stCondLst>
                                    <p:cond delay="0"/>
                                  </p:stCondLst>
                                  <p:childTnLst>
                                    <p:set>
                                      <p:cBhvr>
                                        <p:cTn id="95" dur="1" fill="hold">
                                          <p:stCondLst>
                                            <p:cond delay="0"/>
                                          </p:stCondLst>
                                        </p:cTn>
                                        <p:tgtEl>
                                          <p:spTgt spid="212"/>
                                        </p:tgtEl>
                                        <p:attrNameLst>
                                          <p:attrName>style.visibility</p:attrName>
                                        </p:attrNameLst>
                                      </p:cBhvr>
                                      <p:to>
                                        <p:strVal val="visible"/>
                                      </p:to>
                                    </p:set>
                                    <p:anim calcmode="lin" valueType="num">
                                      <p:cBhvr>
                                        <p:cTn id="96" dur="500" fill="hold"/>
                                        <p:tgtEl>
                                          <p:spTgt spid="212"/>
                                        </p:tgtEl>
                                        <p:attrNameLst>
                                          <p:attrName>ppt_w</p:attrName>
                                        </p:attrNameLst>
                                      </p:cBhvr>
                                      <p:tavLst>
                                        <p:tav tm="0">
                                          <p:val>
                                            <p:fltVal val="0"/>
                                          </p:val>
                                        </p:tav>
                                        <p:tav tm="100000">
                                          <p:val>
                                            <p:strVal val="#ppt_w"/>
                                          </p:val>
                                        </p:tav>
                                      </p:tavLst>
                                    </p:anim>
                                    <p:anim calcmode="lin" valueType="num">
                                      <p:cBhvr>
                                        <p:cTn id="97" dur="500" fill="hold"/>
                                        <p:tgtEl>
                                          <p:spTgt spid="212"/>
                                        </p:tgtEl>
                                        <p:attrNameLst>
                                          <p:attrName>ppt_h</p:attrName>
                                        </p:attrNameLst>
                                      </p:cBhvr>
                                      <p:tavLst>
                                        <p:tav tm="0">
                                          <p:val>
                                            <p:fltVal val="0"/>
                                          </p:val>
                                        </p:tav>
                                        <p:tav tm="100000">
                                          <p:val>
                                            <p:strVal val="#ppt_h"/>
                                          </p:val>
                                        </p:tav>
                                      </p:tavLst>
                                    </p:anim>
                                    <p:animEffect transition="in" filter="fade">
                                      <p:cBhvr>
                                        <p:cTn id="98" dur="500"/>
                                        <p:tgtEl>
                                          <p:spTgt spid="212"/>
                                        </p:tgtEl>
                                      </p:cBhvr>
                                    </p:animEffect>
                                  </p:childTnLst>
                                </p:cTn>
                              </p:par>
                              <p:par>
                                <p:cTn id="99" presetID="53" presetClass="entr" presetSubtype="16" fill="hold" nodeType="withEffect">
                                  <p:stCondLst>
                                    <p:cond delay="0"/>
                                  </p:stCondLst>
                                  <p:childTnLst>
                                    <p:set>
                                      <p:cBhvr>
                                        <p:cTn id="100" dur="1" fill="hold">
                                          <p:stCondLst>
                                            <p:cond delay="0"/>
                                          </p:stCondLst>
                                        </p:cTn>
                                        <p:tgtEl>
                                          <p:spTgt spid="224"/>
                                        </p:tgtEl>
                                        <p:attrNameLst>
                                          <p:attrName>style.visibility</p:attrName>
                                        </p:attrNameLst>
                                      </p:cBhvr>
                                      <p:to>
                                        <p:strVal val="visible"/>
                                      </p:to>
                                    </p:set>
                                    <p:anim calcmode="lin" valueType="num">
                                      <p:cBhvr>
                                        <p:cTn id="101" dur="500" fill="hold"/>
                                        <p:tgtEl>
                                          <p:spTgt spid="224"/>
                                        </p:tgtEl>
                                        <p:attrNameLst>
                                          <p:attrName>ppt_w</p:attrName>
                                        </p:attrNameLst>
                                      </p:cBhvr>
                                      <p:tavLst>
                                        <p:tav tm="0">
                                          <p:val>
                                            <p:fltVal val="0"/>
                                          </p:val>
                                        </p:tav>
                                        <p:tav tm="100000">
                                          <p:val>
                                            <p:strVal val="#ppt_w"/>
                                          </p:val>
                                        </p:tav>
                                      </p:tavLst>
                                    </p:anim>
                                    <p:anim calcmode="lin" valueType="num">
                                      <p:cBhvr>
                                        <p:cTn id="102" dur="500" fill="hold"/>
                                        <p:tgtEl>
                                          <p:spTgt spid="224"/>
                                        </p:tgtEl>
                                        <p:attrNameLst>
                                          <p:attrName>ppt_h</p:attrName>
                                        </p:attrNameLst>
                                      </p:cBhvr>
                                      <p:tavLst>
                                        <p:tav tm="0">
                                          <p:val>
                                            <p:fltVal val="0"/>
                                          </p:val>
                                        </p:tav>
                                        <p:tav tm="100000">
                                          <p:val>
                                            <p:strVal val="#ppt_h"/>
                                          </p:val>
                                        </p:tav>
                                      </p:tavLst>
                                    </p:anim>
                                    <p:animEffect transition="in" filter="fade">
                                      <p:cBhvr>
                                        <p:cTn id="103" dur="500"/>
                                        <p:tgtEl>
                                          <p:spTgt spid="224"/>
                                        </p:tgtEl>
                                      </p:cBhvr>
                                    </p:animEffect>
                                  </p:childTnLst>
                                </p:cTn>
                              </p:par>
                            </p:childTnLst>
                          </p:cTn>
                        </p:par>
                      </p:childTnLst>
                    </p:cTn>
                  </p:par>
                  <p:par>
                    <p:cTn id="104" fill="hold">
                      <p:stCondLst>
                        <p:cond delay="indefinite"/>
                      </p:stCondLst>
                      <p:childTnLst>
                        <p:par>
                          <p:cTn id="105" fill="hold">
                            <p:stCondLst>
                              <p:cond delay="0"/>
                            </p:stCondLst>
                            <p:childTnLst>
                              <p:par>
                                <p:cTn id="106" presetID="53" presetClass="exit" presetSubtype="32" fill="hold" nodeType="clickEffect">
                                  <p:stCondLst>
                                    <p:cond delay="0"/>
                                  </p:stCondLst>
                                  <p:childTnLst>
                                    <p:anim calcmode="lin" valueType="num">
                                      <p:cBhvr>
                                        <p:cTn id="107" dur="500"/>
                                        <p:tgtEl>
                                          <p:spTgt spid="205"/>
                                        </p:tgtEl>
                                        <p:attrNameLst>
                                          <p:attrName>ppt_w</p:attrName>
                                        </p:attrNameLst>
                                      </p:cBhvr>
                                      <p:tavLst>
                                        <p:tav tm="0">
                                          <p:val>
                                            <p:strVal val="ppt_w"/>
                                          </p:val>
                                        </p:tav>
                                        <p:tav tm="100000">
                                          <p:val>
                                            <p:fltVal val="0"/>
                                          </p:val>
                                        </p:tav>
                                      </p:tavLst>
                                    </p:anim>
                                    <p:anim calcmode="lin" valueType="num">
                                      <p:cBhvr>
                                        <p:cTn id="108" dur="500"/>
                                        <p:tgtEl>
                                          <p:spTgt spid="205"/>
                                        </p:tgtEl>
                                        <p:attrNameLst>
                                          <p:attrName>ppt_h</p:attrName>
                                        </p:attrNameLst>
                                      </p:cBhvr>
                                      <p:tavLst>
                                        <p:tav tm="0">
                                          <p:val>
                                            <p:strVal val="ppt_h"/>
                                          </p:val>
                                        </p:tav>
                                        <p:tav tm="100000">
                                          <p:val>
                                            <p:fltVal val="0"/>
                                          </p:val>
                                        </p:tav>
                                      </p:tavLst>
                                    </p:anim>
                                    <p:animEffect transition="out" filter="fade">
                                      <p:cBhvr>
                                        <p:cTn id="109" dur="500"/>
                                        <p:tgtEl>
                                          <p:spTgt spid="205"/>
                                        </p:tgtEl>
                                      </p:cBhvr>
                                    </p:animEffect>
                                    <p:set>
                                      <p:cBhvr>
                                        <p:cTn id="110" dur="1" fill="hold">
                                          <p:stCondLst>
                                            <p:cond delay="499"/>
                                          </p:stCondLst>
                                        </p:cTn>
                                        <p:tgtEl>
                                          <p:spTgt spid="205"/>
                                        </p:tgtEl>
                                        <p:attrNameLst>
                                          <p:attrName>style.visibility</p:attrName>
                                        </p:attrNameLst>
                                      </p:cBhvr>
                                      <p:to>
                                        <p:strVal val="hidden"/>
                                      </p:to>
                                    </p:set>
                                  </p:childTnLst>
                                </p:cTn>
                              </p:par>
                              <p:par>
                                <p:cTn id="111" presetID="53" presetClass="exit" presetSubtype="32" fill="hold" nodeType="withEffect">
                                  <p:stCondLst>
                                    <p:cond delay="0"/>
                                  </p:stCondLst>
                                  <p:childTnLst>
                                    <p:anim calcmode="lin" valueType="num">
                                      <p:cBhvr>
                                        <p:cTn id="112" dur="500"/>
                                        <p:tgtEl>
                                          <p:spTgt spid="212"/>
                                        </p:tgtEl>
                                        <p:attrNameLst>
                                          <p:attrName>ppt_w</p:attrName>
                                        </p:attrNameLst>
                                      </p:cBhvr>
                                      <p:tavLst>
                                        <p:tav tm="0">
                                          <p:val>
                                            <p:strVal val="ppt_w"/>
                                          </p:val>
                                        </p:tav>
                                        <p:tav tm="100000">
                                          <p:val>
                                            <p:fltVal val="0"/>
                                          </p:val>
                                        </p:tav>
                                      </p:tavLst>
                                    </p:anim>
                                    <p:anim calcmode="lin" valueType="num">
                                      <p:cBhvr>
                                        <p:cTn id="113" dur="500"/>
                                        <p:tgtEl>
                                          <p:spTgt spid="212"/>
                                        </p:tgtEl>
                                        <p:attrNameLst>
                                          <p:attrName>ppt_h</p:attrName>
                                        </p:attrNameLst>
                                      </p:cBhvr>
                                      <p:tavLst>
                                        <p:tav tm="0">
                                          <p:val>
                                            <p:strVal val="ppt_h"/>
                                          </p:val>
                                        </p:tav>
                                        <p:tav tm="100000">
                                          <p:val>
                                            <p:fltVal val="0"/>
                                          </p:val>
                                        </p:tav>
                                      </p:tavLst>
                                    </p:anim>
                                    <p:animEffect transition="out" filter="fade">
                                      <p:cBhvr>
                                        <p:cTn id="114" dur="500"/>
                                        <p:tgtEl>
                                          <p:spTgt spid="212"/>
                                        </p:tgtEl>
                                      </p:cBhvr>
                                    </p:animEffect>
                                    <p:set>
                                      <p:cBhvr>
                                        <p:cTn id="115" dur="1" fill="hold">
                                          <p:stCondLst>
                                            <p:cond delay="499"/>
                                          </p:stCondLst>
                                        </p:cTn>
                                        <p:tgtEl>
                                          <p:spTgt spid="212"/>
                                        </p:tgtEl>
                                        <p:attrNameLst>
                                          <p:attrName>style.visibility</p:attrName>
                                        </p:attrNameLst>
                                      </p:cBhvr>
                                      <p:to>
                                        <p:strVal val="hidden"/>
                                      </p:to>
                                    </p:set>
                                  </p:childTnLst>
                                </p:cTn>
                              </p:par>
                              <p:par>
                                <p:cTn id="116" presetID="53" presetClass="exit" presetSubtype="32" fill="hold" nodeType="withEffect">
                                  <p:stCondLst>
                                    <p:cond delay="0"/>
                                  </p:stCondLst>
                                  <p:childTnLst>
                                    <p:anim calcmode="lin" valueType="num">
                                      <p:cBhvr>
                                        <p:cTn id="117" dur="500"/>
                                        <p:tgtEl>
                                          <p:spTgt spid="224"/>
                                        </p:tgtEl>
                                        <p:attrNameLst>
                                          <p:attrName>ppt_w</p:attrName>
                                        </p:attrNameLst>
                                      </p:cBhvr>
                                      <p:tavLst>
                                        <p:tav tm="0">
                                          <p:val>
                                            <p:strVal val="ppt_w"/>
                                          </p:val>
                                        </p:tav>
                                        <p:tav tm="100000">
                                          <p:val>
                                            <p:fltVal val="0"/>
                                          </p:val>
                                        </p:tav>
                                      </p:tavLst>
                                    </p:anim>
                                    <p:anim calcmode="lin" valueType="num">
                                      <p:cBhvr>
                                        <p:cTn id="118" dur="500"/>
                                        <p:tgtEl>
                                          <p:spTgt spid="224"/>
                                        </p:tgtEl>
                                        <p:attrNameLst>
                                          <p:attrName>ppt_h</p:attrName>
                                        </p:attrNameLst>
                                      </p:cBhvr>
                                      <p:tavLst>
                                        <p:tav tm="0">
                                          <p:val>
                                            <p:strVal val="ppt_h"/>
                                          </p:val>
                                        </p:tav>
                                        <p:tav tm="100000">
                                          <p:val>
                                            <p:fltVal val="0"/>
                                          </p:val>
                                        </p:tav>
                                      </p:tavLst>
                                    </p:anim>
                                    <p:animEffect transition="out" filter="fade">
                                      <p:cBhvr>
                                        <p:cTn id="119" dur="500"/>
                                        <p:tgtEl>
                                          <p:spTgt spid="224"/>
                                        </p:tgtEl>
                                      </p:cBhvr>
                                    </p:animEffect>
                                    <p:set>
                                      <p:cBhvr>
                                        <p:cTn id="120" dur="1" fill="hold">
                                          <p:stCondLst>
                                            <p:cond delay="499"/>
                                          </p:stCondLst>
                                        </p:cTn>
                                        <p:tgtEl>
                                          <p:spTgt spid="224"/>
                                        </p:tgtEl>
                                        <p:attrNameLst>
                                          <p:attrName>style.visibility</p:attrName>
                                        </p:attrNameLst>
                                      </p:cBhvr>
                                      <p:to>
                                        <p:strVal val="hidden"/>
                                      </p:to>
                                    </p:set>
                                  </p:childTnLst>
                                </p:cTn>
                              </p:par>
                            </p:childTnLst>
                          </p:cTn>
                        </p:par>
                      </p:childTnLst>
                    </p:cTn>
                  </p:par>
                  <p:par>
                    <p:cTn id="121" fill="hold">
                      <p:stCondLst>
                        <p:cond delay="indefinite"/>
                      </p:stCondLst>
                      <p:childTnLst>
                        <p:par>
                          <p:cTn id="122" fill="hold">
                            <p:stCondLst>
                              <p:cond delay="0"/>
                            </p:stCondLst>
                            <p:childTnLst>
                              <p:par>
                                <p:cTn id="123" presetID="53" presetClass="entr" presetSubtype="16" fill="hold" nodeType="clickEffect">
                                  <p:stCondLst>
                                    <p:cond delay="0"/>
                                  </p:stCondLst>
                                  <p:childTnLst>
                                    <p:set>
                                      <p:cBhvr>
                                        <p:cTn id="124" dur="1" fill="hold">
                                          <p:stCondLst>
                                            <p:cond delay="0"/>
                                          </p:stCondLst>
                                        </p:cTn>
                                        <p:tgtEl>
                                          <p:spTgt spid="254"/>
                                        </p:tgtEl>
                                        <p:attrNameLst>
                                          <p:attrName>style.visibility</p:attrName>
                                        </p:attrNameLst>
                                      </p:cBhvr>
                                      <p:to>
                                        <p:strVal val="visible"/>
                                      </p:to>
                                    </p:set>
                                    <p:anim calcmode="lin" valueType="num">
                                      <p:cBhvr>
                                        <p:cTn id="125" dur="500" fill="hold"/>
                                        <p:tgtEl>
                                          <p:spTgt spid="254"/>
                                        </p:tgtEl>
                                        <p:attrNameLst>
                                          <p:attrName>ppt_w</p:attrName>
                                        </p:attrNameLst>
                                      </p:cBhvr>
                                      <p:tavLst>
                                        <p:tav tm="0">
                                          <p:val>
                                            <p:fltVal val="0"/>
                                          </p:val>
                                        </p:tav>
                                        <p:tav tm="100000">
                                          <p:val>
                                            <p:strVal val="#ppt_w"/>
                                          </p:val>
                                        </p:tav>
                                      </p:tavLst>
                                    </p:anim>
                                    <p:anim calcmode="lin" valueType="num">
                                      <p:cBhvr>
                                        <p:cTn id="126" dur="500" fill="hold"/>
                                        <p:tgtEl>
                                          <p:spTgt spid="254"/>
                                        </p:tgtEl>
                                        <p:attrNameLst>
                                          <p:attrName>ppt_h</p:attrName>
                                        </p:attrNameLst>
                                      </p:cBhvr>
                                      <p:tavLst>
                                        <p:tav tm="0">
                                          <p:val>
                                            <p:fltVal val="0"/>
                                          </p:val>
                                        </p:tav>
                                        <p:tav tm="100000">
                                          <p:val>
                                            <p:strVal val="#ppt_h"/>
                                          </p:val>
                                        </p:tav>
                                      </p:tavLst>
                                    </p:anim>
                                    <p:animEffect transition="in" filter="fade">
                                      <p:cBhvr>
                                        <p:cTn id="127" dur="500"/>
                                        <p:tgtEl>
                                          <p:spTgt spid="254"/>
                                        </p:tgtEl>
                                      </p:cBhvr>
                                    </p:animEffect>
                                  </p:childTnLst>
                                </p:cTn>
                              </p:par>
                              <p:par>
                                <p:cTn id="128" presetID="53" presetClass="entr" presetSubtype="16" fill="hold" nodeType="withEffect">
                                  <p:stCondLst>
                                    <p:cond delay="0"/>
                                  </p:stCondLst>
                                  <p:childTnLst>
                                    <p:set>
                                      <p:cBhvr>
                                        <p:cTn id="129" dur="1" fill="hold">
                                          <p:stCondLst>
                                            <p:cond delay="0"/>
                                          </p:stCondLst>
                                        </p:cTn>
                                        <p:tgtEl>
                                          <p:spTgt spid="257"/>
                                        </p:tgtEl>
                                        <p:attrNameLst>
                                          <p:attrName>style.visibility</p:attrName>
                                        </p:attrNameLst>
                                      </p:cBhvr>
                                      <p:to>
                                        <p:strVal val="visible"/>
                                      </p:to>
                                    </p:set>
                                    <p:anim calcmode="lin" valueType="num">
                                      <p:cBhvr>
                                        <p:cTn id="130" dur="500" fill="hold"/>
                                        <p:tgtEl>
                                          <p:spTgt spid="257"/>
                                        </p:tgtEl>
                                        <p:attrNameLst>
                                          <p:attrName>ppt_w</p:attrName>
                                        </p:attrNameLst>
                                      </p:cBhvr>
                                      <p:tavLst>
                                        <p:tav tm="0">
                                          <p:val>
                                            <p:fltVal val="0"/>
                                          </p:val>
                                        </p:tav>
                                        <p:tav tm="100000">
                                          <p:val>
                                            <p:strVal val="#ppt_w"/>
                                          </p:val>
                                        </p:tav>
                                      </p:tavLst>
                                    </p:anim>
                                    <p:anim calcmode="lin" valueType="num">
                                      <p:cBhvr>
                                        <p:cTn id="131" dur="500" fill="hold"/>
                                        <p:tgtEl>
                                          <p:spTgt spid="257"/>
                                        </p:tgtEl>
                                        <p:attrNameLst>
                                          <p:attrName>ppt_h</p:attrName>
                                        </p:attrNameLst>
                                      </p:cBhvr>
                                      <p:tavLst>
                                        <p:tav tm="0">
                                          <p:val>
                                            <p:fltVal val="0"/>
                                          </p:val>
                                        </p:tav>
                                        <p:tav tm="100000">
                                          <p:val>
                                            <p:strVal val="#ppt_h"/>
                                          </p:val>
                                        </p:tav>
                                      </p:tavLst>
                                    </p:anim>
                                    <p:animEffect transition="in" filter="fade">
                                      <p:cBhvr>
                                        <p:cTn id="132" dur="500"/>
                                        <p:tgtEl>
                                          <p:spTgt spid="257"/>
                                        </p:tgtEl>
                                      </p:cBhvr>
                                    </p:animEffect>
                                  </p:childTnLst>
                                </p:cTn>
                              </p:par>
                              <p:par>
                                <p:cTn id="133" presetID="53" presetClass="entr" presetSubtype="16" fill="hold" nodeType="withEffect">
                                  <p:stCondLst>
                                    <p:cond delay="0"/>
                                  </p:stCondLst>
                                  <p:childTnLst>
                                    <p:set>
                                      <p:cBhvr>
                                        <p:cTn id="134" dur="1" fill="hold">
                                          <p:stCondLst>
                                            <p:cond delay="0"/>
                                          </p:stCondLst>
                                        </p:cTn>
                                        <p:tgtEl>
                                          <p:spTgt spid="260"/>
                                        </p:tgtEl>
                                        <p:attrNameLst>
                                          <p:attrName>style.visibility</p:attrName>
                                        </p:attrNameLst>
                                      </p:cBhvr>
                                      <p:to>
                                        <p:strVal val="visible"/>
                                      </p:to>
                                    </p:set>
                                    <p:anim calcmode="lin" valueType="num">
                                      <p:cBhvr>
                                        <p:cTn id="135" dur="500" fill="hold"/>
                                        <p:tgtEl>
                                          <p:spTgt spid="260"/>
                                        </p:tgtEl>
                                        <p:attrNameLst>
                                          <p:attrName>ppt_w</p:attrName>
                                        </p:attrNameLst>
                                      </p:cBhvr>
                                      <p:tavLst>
                                        <p:tav tm="0">
                                          <p:val>
                                            <p:fltVal val="0"/>
                                          </p:val>
                                        </p:tav>
                                        <p:tav tm="100000">
                                          <p:val>
                                            <p:strVal val="#ppt_w"/>
                                          </p:val>
                                        </p:tav>
                                      </p:tavLst>
                                    </p:anim>
                                    <p:anim calcmode="lin" valueType="num">
                                      <p:cBhvr>
                                        <p:cTn id="136" dur="500" fill="hold"/>
                                        <p:tgtEl>
                                          <p:spTgt spid="260"/>
                                        </p:tgtEl>
                                        <p:attrNameLst>
                                          <p:attrName>ppt_h</p:attrName>
                                        </p:attrNameLst>
                                      </p:cBhvr>
                                      <p:tavLst>
                                        <p:tav tm="0">
                                          <p:val>
                                            <p:fltVal val="0"/>
                                          </p:val>
                                        </p:tav>
                                        <p:tav tm="100000">
                                          <p:val>
                                            <p:strVal val="#ppt_h"/>
                                          </p:val>
                                        </p:tav>
                                      </p:tavLst>
                                    </p:anim>
                                    <p:animEffect transition="in" filter="fade">
                                      <p:cBhvr>
                                        <p:cTn id="137" dur="500"/>
                                        <p:tgtEl>
                                          <p:spTgt spid="2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e 4">
            <a:extLst>
              <a:ext uri="{FF2B5EF4-FFF2-40B4-BE49-F238E27FC236}">
                <a16:creationId xmlns:a16="http://schemas.microsoft.com/office/drawing/2014/main" id="{9ED353F4-5B86-4B1C-A9E9-3BCA1D6ECA5E}"/>
              </a:ext>
            </a:extLst>
          </p:cNvPr>
          <p:cNvGrpSpPr/>
          <p:nvPr/>
        </p:nvGrpSpPr>
        <p:grpSpPr>
          <a:xfrm>
            <a:off x="4799856" y="972108"/>
            <a:ext cx="1742609" cy="190500"/>
            <a:chOff x="5378756" y="878988"/>
            <a:chExt cx="1742609" cy="190500"/>
          </a:xfrm>
        </p:grpSpPr>
        <p:sp>
          <p:nvSpPr>
            <p:cNvPr id="6" name="Oval 5">
              <a:extLst>
                <a:ext uri="{FF2B5EF4-FFF2-40B4-BE49-F238E27FC236}">
                  <a16:creationId xmlns:a16="http://schemas.microsoft.com/office/drawing/2014/main" id="{A1BE9765-B79A-4E7C-A839-8B6152A12465}"/>
                </a:ext>
              </a:extLst>
            </p:cNvPr>
            <p:cNvSpPr/>
            <p:nvPr/>
          </p:nvSpPr>
          <p:spPr>
            <a:xfrm>
              <a:off x="5378756" y="878988"/>
              <a:ext cx="190500" cy="1905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47C5195-242B-43AB-9B0F-2310D66F5DAB}"/>
                </a:ext>
              </a:extLst>
            </p:cNvPr>
            <p:cNvSpPr/>
            <p:nvPr/>
          </p:nvSpPr>
          <p:spPr>
            <a:xfrm>
              <a:off x="5689906" y="878988"/>
              <a:ext cx="190500" cy="1905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B9241211-6E43-4595-B3D3-65373D0B1050}"/>
                </a:ext>
              </a:extLst>
            </p:cNvPr>
            <p:cNvSpPr/>
            <p:nvPr/>
          </p:nvSpPr>
          <p:spPr>
            <a:xfrm>
              <a:off x="6000692" y="878988"/>
              <a:ext cx="190500" cy="1905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2D2DA82B-09BD-438B-836E-558CAD75001C}"/>
                </a:ext>
              </a:extLst>
            </p:cNvPr>
            <p:cNvSpPr/>
            <p:nvPr/>
          </p:nvSpPr>
          <p:spPr>
            <a:xfrm>
              <a:off x="6311478" y="878988"/>
              <a:ext cx="190500" cy="190500"/>
            </a:xfrm>
            <a:prstGeom prst="ellipse">
              <a:avLst/>
            </a:prstGeom>
            <a:solidFill>
              <a:srgbClr val="F723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9A0AC1B6-0101-4F47-9276-88E85740FB1F}"/>
                </a:ext>
              </a:extLst>
            </p:cNvPr>
            <p:cNvSpPr/>
            <p:nvPr/>
          </p:nvSpPr>
          <p:spPr>
            <a:xfrm>
              <a:off x="6622745" y="878988"/>
              <a:ext cx="190500" cy="1905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9">
              <a:extLst>
                <a:ext uri="{FF2B5EF4-FFF2-40B4-BE49-F238E27FC236}">
                  <a16:creationId xmlns:a16="http://schemas.microsoft.com/office/drawing/2014/main" id="{8B29AA7E-FB3E-4ED7-B07E-173454262D4B}"/>
                </a:ext>
              </a:extLst>
            </p:cNvPr>
            <p:cNvSpPr/>
            <p:nvPr/>
          </p:nvSpPr>
          <p:spPr>
            <a:xfrm>
              <a:off x="6930865" y="878988"/>
              <a:ext cx="190500" cy="190500"/>
            </a:xfrm>
            <a:prstGeom prst="ellipse">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CALMS">
            <a:extLst>
              <a:ext uri="{FF2B5EF4-FFF2-40B4-BE49-F238E27FC236}">
                <a16:creationId xmlns:a16="http://schemas.microsoft.com/office/drawing/2014/main" id="{2917F158-AE2A-4FB4-9B71-F6E9BDA2C867}"/>
              </a:ext>
            </a:extLst>
          </p:cNvPr>
          <p:cNvSpPr txBox="1"/>
          <p:nvPr/>
        </p:nvSpPr>
        <p:spPr>
          <a:xfrm>
            <a:off x="-358524" y="133445"/>
            <a:ext cx="12191999" cy="707886"/>
          </a:xfrm>
          <a:prstGeom prst="rect">
            <a:avLst/>
          </a:prstGeom>
          <a:noFill/>
          <a:ln>
            <a:noFill/>
          </a:ln>
        </p:spPr>
        <p:txBody>
          <a:bodyPr wrap="square" rtlCol="0">
            <a:spAutoFit/>
          </a:bodyPr>
          <a:lstStyle/>
          <a:p>
            <a:pPr algn="ctr"/>
            <a:r>
              <a:rPr lang="en-US" sz="4000" dirty="0">
                <a:solidFill>
                  <a:schemeClr val="bg1">
                    <a:lumMod val="65000"/>
                  </a:schemeClr>
                </a:solidFill>
                <a:latin typeface="Tw Cen MT" panose="020B0602020104020603" pitchFamily="34" charset="0"/>
              </a:rPr>
              <a:t>N o t r e  P l u s - v a l u e : D e v O p s</a:t>
            </a:r>
          </a:p>
        </p:txBody>
      </p:sp>
      <p:cxnSp>
        <p:nvCxnSpPr>
          <p:cNvPr id="13" name="Straight Connector 6">
            <a:extLst>
              <a:ext uri="{FF2B5EF4-FFF2-40B4-BE49-F238E27FC236}">
                <a16:creationId xmlns:a16="http://schemas.microsoft.com/office/drawing/2014/main" id="{4D725051-01AD-41A5-A990-E64A8E9C6AF6}"/>
              </a:ext>
            </a:extLst>
          </p:cNvPr>
          <p:cNvCxnSpPr>
            <a:cxnSpLocks/>
          </p:cNvCxnSpPr>
          <p:nvPr/>
        </p:nvCxnSpPr>
        <p:spPr>
          <a:xfrm>
            <a:off x="43095" y="1769362"/>
            <a:ext cx="12191999"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2" name="Groupe 21">
            <a:extLst>
              <a:ext uri="{FF2B5EF4-FFF2-40B4-BE49-F238E27FC236}">
                <a16:creationId xmlns:a16="http://schemas.microsoft.com/office/drawing/2014/main" id="{820DD39D-29D5-4CE3-8E37-FBF0531FA5ED}"/>
              </a:ext>
            </a:extLst>
          </p:cNvPr>
          <p:cNvGrpSpPr/>
          <p:nvPr/>
        </p:nvGrpSpPr>
        <p:grpSpPr>
          <a:xfrm>
            <a:off x="301191" y="1688464"/>
            <a:ext cx="2048865" cy="926101"/>
            <a:chOff x="301191" y="1400432"/>
            <a:chExt cx="2048865" cy="926101"/>
          </a:xfrm>
        </p:grpSpPr>
        <p:grpSp>
          <p:nvGrpSpPr>
            <p:cNvPr id="23" name="Groupe 22">
              <a:extLst>
                <a:ext uri="{FF2B5EF4-FFF2-40B4-BE49-F238E27FC236}">
                  <a16:creationId xmlns:a16="http://schemas.microsoft.com/office/drawing/2014/main" id="{8892A9C6-360E-4005-88F9-8FB6A20B260D}"/>
                </a:ext>
              </a:extLst>
            </p:cNvPr>
            <p:cNvGrpSpPr/>
            <p:nvPr/>
          </p:nvGrpSpPr>
          <p:grpSpPr>
            <a:xfrm>
              <a:off x="623392" y="1400432"/>
              <a:ext cx="190500" cy="444392"/>
              <a:chOff x="747532" y="-1143928"/>
              <a:chExt cx="190500" cy="444392"/>
            </a:xfrm>
          </p:grpSpPr>
          <p:sp>
            <p:nvSpPr>
              <p:cNvPr id="27" name="Oval 7">
                <a:extLst>
                  <a:ext uri="{FF2B5EF4-FFF2-40B4-BE49-F238E27FC236}">
                    <a16:creationId xmlns:a16="http://schemas.microsoft.com/office/drawing/2014/main" id="{CB7B5A04-17D3-4EE1-8978-87CF9DA4C008}"/>
                  </a:ext>
                </a:extLst>
              </p:cNvPr>
              <p:cNvSpPr/>
              <p:nvPr/>
            </p:nvSpPr>
            <p:spPr>
              <a:xfrm>
                <a:off x="747532" y="-1143928"/>
                <a:ext cx="190500" cy="1905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11">
                <a:extLst>
                  <a:ext uri="{FF2B5EF4-FFF2-40B4-BE49-F238E27FC236}">
                    <a16:creationId xmlns:a16="http://schemas.microsoft.com/office/drawing/2014/main" id="{ED0AF3AB-BBC2-43B3-B932-455D1810737A}"/>
                  </a:ext>
                </a:extLst>
              </p:cNvPr>
              <p:cNvCxnSpPr>
                <a:cxnSpLocks/>
              </p:cNvCxnSpPr>
              <p:nvPr/>
            </p:nvCxnSpPr>
            <p:spPr>
              <a:xfrm flipV="1">
                <a:off x="842782" y="-953428"/>
                <a:ext cx="0" cy="135172"/>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29" name="Oval 13">
                <a:extLst>
                  <a:ext uri="{FF2B5EF4-FFF2-40B4-BE49-F238E27FC236}">
                    <a16:creationId xmlns:a16="http://schemas.microsoft.com/office/drawing/2014/main" id="{5B2D9DFB-40C3-4562-BF4F-97F418E92B66}"/>
                  </a:ext>
                </a:extLst>
              </p:cNvPr>
              <p:cNvSpPr/>
              <p:nvPr/>
            </p:nvSpPr>
            <p:spPr>
              <a:xfrm>
                <a:off x="780662" y="-823776"/>
                <a:ext cx="124240" cy="12424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Groupe 23">
              <a:extLst>
                <a:ext uri="{FF2B5EF4-FFF2-40B4-BE49-F238E27FC236}">
                  <a16:creationId xmlns:a16="http://schemas.microsoft.com/office/drawing/2014/main" id="{53DE08CE-0CAB-4915-B475-0A336CC08AE3}"/>
                </a:ext>
              </a:extLst>
            </p:cNvPr>
            <p:cNvGrpSpPr/>
            <p:nvPr/>
          </p:nvGrpSpPr>
          <p:grpSpPr>
            <a:xfrm>
              <a:off x="301191" y="1916832"/>
              <a:ext cx="2048865" cy="409701"/>
              <a:chOff x="301191" y="1916832"/>
              <a:chExt cx="2048865" cy="409701"/>
            </a:xfrm>
          </p:grpSpPr>
          <p:sp>
            <p:nvSpPr>
              <p:cNvPr id="25" name="TextBox 16">
                <a:extLst>
                  <a:ext uri="{FF2B5EF4-FFF2-40B4-BE49-F238E27FC236}">
                    <a16:creationId xmlns:a16="http://schemas.microsoft.com/office/drawing/2014/main" id="{A5768FA7-15BA-4751-B68D-D80B43E9F8C5}"/>
                  </a:ext>
                </a:extLst>
              </p:cNvPr>
              <p:cNvSpPr txBox="1"/>
              <p:nvPr/>
            </p:nvSpPr>
            <p:spPr>
              <a:xfrm>
                <a:off x="335361" y="1916832"/>
                <a:ext cx="1918805" cy="400110"/>
              </a:xfrm>
              <a:prstGeom prst="rect">
                <a:avLst/>
              </a:prstGeom>
              <a:noFill/>
            </p:spPr>
            <p:txBody>
              <a:bodyPr wrap="square" rtlCol="0">
                <a:spAutoFit/>
              </a:bodyPr>
              <a:lstStyle/>
              <a:p>
                <a:pPr algn="l"/>
                <a:r>
                  <a:rPr lang="en-US" sz="2000" b="1" dirty="0">
                    <a:solidFill>
                      <a:schemeClr val="bg2">
                        <a:lumMod val="50000"/>
                      </a:schemeClr>
                    </a:solidFill>
                    <a:latin typeface="Tw Cen MT" panose="020B0602020104020603" pitchFamily="34" charset="0"/>
                  </a:rPr>
                  <a:t>Notre vision </a:t>
                </a:r>
              </a:p>
            </p:txBody>
          </p:sp>
          <p:cxnSp>
            <p:nvCxnSpPr>
              <p:cNvPr id="26" name="Straight Connector 63">
                <a:extLst>
                  <a:ext uri="{FF2B5EF4-FFF2-40B4-BE49-F238E27FC236}">
                    <a16:creationId xmlns:a16="http://schemas.microsoft.com/office/drawing/2014/main" id="{B5152A76-C3A9-4536-8F44-63C02D1C8046}"/>
                  </a:ext>
                </a:extLst>
              </p:cNvPr>
              <p:cNvCxnSpPr>
                <a:cxnSpLocks/>
              </p:cNvCxnSpPr>
              <p:nvPr/>
            </p:nvCxnSpPr>
            <p:spPr>
              <a:xfrm>
                <a:off x="301191" y="2326533"/>
                <a:ext cx="2048865" cy="0"/>
              </a:xfrm>
              <a:prstGeom prst="line">
                <a:avLst/>
              </a:prstGeom>
              <a:solidFill>
                <a:srgbClr val="0070C0"/>
              </a:solidFill>
              <a:ln w="19050">
                <a:solidFill>
                  <a:srgbClr val="0070C0"/>
                </a:solidFill>
              </a:ln>
            </p:spPr>
            <p:style>
              <a:lnRef idx="1">
                <a:schemeClr val="accent1"/>
              </a:lnRef>
              <a:fillRef idx="0">
                <a:schemeClr val="accent1"/>
              </a:fillRef>
              <a:effectRef idx="0">
                <a:schemeClr val="accent1"/>
              </a:effectRef>
              <a:fontRef idx="minor">
                <a:schemeClr val="tx1"/>
              </a:fontRef>
            </p:style>
          </p:cxnSp>
        </p:grpSp>
      </p:grpSp>
      <p:grpSp>
        <p:nvGrpSpPr>
          <p:cNvPr id="38" name="Groupe 37">
            <a:extLst>
              <a:ext uri="{FF2B5EF4-FFF2-40B4-BE49-F238E27FC236}">
                <a16:creationId xmlns:a16="http://schemas.microsoft.com/office/drawing/2014/main" id="{EE38E944-232B-4A37-BD65-BFE86588EB80}"/>
              </a:ext>
            </a:extLst>
          </p:cNvPr>
          <p:cNvGrpSpPr/>
          <p:nvPr/>
        </p:nvGrpSpPr>
        <p:grpSpPr>
          <a:xfrm>
            <a:off x="9098787" y="1663307"/>
            <a:ext cx="2061927" cy="930433"/>
            <a:chOff x="4898169" y="1396100"/>
            <a:chExt cx="2061927" cy="930433"/>
          </a:xfrm>
        </p:grpSpPr>
        <p:grpSp>
          <p:nvGrpSpPr>
            <p:cNvPr id="39" name="Groupe 38">
              <a:extLst>
                <a:ext uri="{FF2B5EF4-FFF2-40B4-BE49-F238E27FC236}">
                  <a16:creationId xmlns:a16="http://schemas.microsoft.com/office/drawing/2014/main" id="{81DAFDB2-B56D-4AA2-8637-35D08B526F3B}"/>
                </a:ext>
              </a:extLst>
            </p:cNvPr>
            <p:cNvGrpSpPr/>
            <p:nvPr/>
          </p:nvGrpSpPr>
          <p:grpSpPr>
            <a:xfrm>
              <a:off x="5091098" y="1396100"/>
              <a:ext cx="190500" cy="444392"/>
              <a:chOff x="8767144" y="5806366"/>
              <a:chExt cx="190500" cy="444392"/>
            </a:xfrm>
          </p:grpSpPr>
          <p:sp>
            <p:nvSpPr>
              <p:cNvPr id="43" name="Oval 7">
                <a:extLst>
                  <a:ext uri="{FF2B5EF4-FFF2-40B4-BE49-F238E27FC236}">
                    <a16:creationId xmlns:a16="http://schemas.microsoft.com/office/drawing/2014/main" id="{66121791-D636-4202-AAA9-DE100CE31CC8}"/>
                  </a:ext>
                </a:extLst>
              </p:cNvPr>
              <p:cNvSpPr/>
              <p:nvPr/>
            </p:nvSpPr>
            <p:spPr>
              <a:xfrm>
                <a:off x="8767144" y="5806366"/>
                <a:ext cx="190500" cy="190500"/>
              </a:xfrm>
              <a:prstGeom prst="ellipse">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11">
                <a:extLst>
                  <a:ext uri="{FF2B5EF4-FFF2-40B4-BE49-F238E27FC236}">
                    <a16:creationId xmlns:a16="http://schemas.microsoft.com/office/drawing/2014/main" id="{D64D9C35-262F-44F1-B635-4ADD73F0F8CB}"/>
                  </a:ext>
                </a:extLst>
              </p:cNvPr>
              <p:cNvCxnSpPr>
                <a:cxnSpLocks/>
              </p:cNvCxnSpPr>
              <p:nvPr/>
            </p:nvCxnSpPr>
            <p:spPr>
              <a:xfrm flipV="1">
                <a:off x="8862394" y="5996866"/>
                <a:ext cx="0" cy="135172"/>
              </a:xfrm>
              <a:prstGeom prst="line">
                <a:avLst/>
              </a:prstGeom>
              <a:ln w="19050">
                <a:solidFill>
                  <a:srgbClr val="5E5959"/>
                </a:solidFill>
              </a:ln>
            </p:spPr>
            <p:style>
              <a:lnRef idx="1">
                <a:schemeClr val="accent1"/>
              </a:lnRef>
              <a:fillRef idx="0">
                <a:schemeClr val="accent1"/>
              </a:fillRef>
              <a:effectRef idx="0">
                <a:schemeClr val="accent1"/>
              </a:effectRef>
              <a:fontRef idx="minor">
                <a:schemeClr val="tx1"/>
              </a:fontRef>
            </p:style>
          </p:cxnSp>
          <p:sp>
            <p:nvSpPr>
              <p:cNvPr id="45" name="Oval 13">
                <a:extLst>
                  <a:ext uri="{FF2B5EF4-FFF2-40B4-BE49-F238E27FC236}">
                    <a16:creationId xmlns:a16="http://schemas.microsoft.com/office/drawing/2014/main" id="{8D7C459B-2F09-417A-BCC6-432382070C7E}"/>
                  </a:ext>
                </a:extLst>
              </p:cNvPr>
              <p:cNvSpPr/>
              <p:nvPr/>
            </p:nvSpPr>
            <p:spPr>
              <a:xfrm>
                <a:off x="8800274" y="6126518"/>
                <a:ext cx="124240" cy="124240"/>
              </a:xfrm>
              <a:prstGeom prst="ellipse">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0" name="Groupe 39">
              <a:extLst>
                <a:ext uri="{FF2B5EF4-FFF2-40B4-BE49-F238E27FC236}">
                  <a16:creationId xmlns:a16="http://schemas.microsoft.com/office/drawing/2014/main" id="{A9339353-4189-4FCC-A193-077A287D3739}"/>
                </a:ext>
              </a:extLst>
            </p:cNvPr>
            <p:cNvGrpSpPr/>
            <p:nvPr/>
          </p:nvGrpSpPr>
          <p:grpSpPr>
            <a:xfrm>
              <a:off x="4898169" y="1916832"/>
              <a:ext cx="2061927" cy="409701"/>
              <a:chOff x="1110932" y="2852936"/>
              <a:chExt cx="2061927" cy="409701"/>
            </a:xfrm>
          </p:grpSpPr>
          <p:sp>
            <p:nvSpPr>
              <p:cNvPr id="41" name="TextBox 16">
                <a:extLst>
                  <a:ext uri="{FF2B5EF4-FFF2-40B4-BE49-F238E27FC236}">
                    <a16:creationId xmlns:a16="http://schemas.microsoft.com/office/drawing/2014/main" id="{54E82C34-2AAD-47D2-AD01-76C59871DC93}"/>
                  </a:ext>
                </a:extLst>
              </p:cNvPr>
              <p:cNvSpPr txBox="1"/>
              <p:nvPr/>
            </p:nvSpPr>
            <p:spPr>
              <a:xfrm>
                <a:off x="1110932" y="2852936"/>
                <a:ext cx="1629879" cy="400110"/>
              </a:xfrm>
              <a:prstGeom prst="rect">
                <a:avLst/>
              </a:prstGeom>
              <a:noFill/>
            </p:spPr>
            <p:txBody>
              <a:bodyPr wrap="square" rtlCol="0">
                <a:spAutoFit/>
              </a:bodyPr>
              <a:lstStyle/>
              <a:p>
                <a:r>
                  <a:rPr lang="en-US" sz="2000" b="1" dirty="0">
                    <a:solidFill>
                      <a:schemeClr val="bg2">
                        <a:lumMod val="50000"/>
                      </a:schemeClr>
                    </a:solidFill>
                    <a:latin typeface="Tw Cen MT" panose="020B0602020104020603" pitchFamily="34" charset="0"/>
                  </a:rPr>
                  <a:t>B &amp; C</a:t>
                </a:r>
              </a:p>
            </p:txBody>
          </p:sp>
          <p:cxnSp>
            <p:nvCxnSpPr>
              <p:cNvPr id="42" name="Straight Connector 63">
                <a:extLst>
                  <a:ext uri="{FF2B5EF4-FFF2-40B4-BE49-F238E27FC236}">
                    <a16:creationId xmlns:a16="http://schemas.microsoft.com/office/drawing/2014/main" id="{DAE5DB87-F475-4610-B21D-DFCA2CBCF227}"/>
                  </a:ext>
                </a:extLst>
              </p:cNvPr>
              <p:cNvCxnSpPr>
                <a:cxnSpLocks/>
              </p:cNvCxnSpPr>
              <p:nvPr/>
            </p:nvCxnSpPr>
            <p:spPr>
              <a:xfrm>
                <a:off x="1123994" y="3262637"/>
                <a:ext cx="2048865"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grpSp>
      <p:sp>
        <p:nvSpPr>
          <p:cNvPr id="54" name="Rectangle 53">
            <a:extLst>
              <a:ext uri="{FF2B5EF4-FFF2-40B4-BE49-F238E27FC236}">
                <a16:creationId xmlns:a16="http://schemas.microsoft.com/office/drawing/2014/main" id="{66088E3F-69BA-4D70-A25F-6BB9329F5F4D}"/>
              </a:ext>
            </a:extLst>
          </p:cNvPr>
          <p:cNvSpPr/>
          <p:nvPr/>
        </p:nvSpPr>
        <p:spPr>
          <a:xfrm>
            <a:off x="933784" y="3640498"/>
            <a:ext cx="1626053" cy="523220"/>
          </a:xfrm>
          <a:prstGeom prst="rect">
            <a:avLst/>
          </a:prstGeom>
        </p:spPr>
        <p:txBody>
          <a:bodyPr wrap="square">
            <a:spAutoFit/>
          </a:bodyPr>
          <a:lstStyle/>
          <a:p>
            <a:r>
              <a:rPr lang="fr-FR" sz="1400" b="1" dirty="0">
                <a:solidFill>
                  <a:schemeClr val="bg2">
                    <a:lumMod val="50000"/>
                  </a:schemeClr>
                </a:solidFill>
              </a:rPr>
              <a:t>Evolution culturelle</a:t>
            </a:r>
          </a:p>
        </p:txBody>
      </p:sp>
      <p:sp>
        <p:nvSpPr>
          <p:cNvPr id="58" name="Rectangle 57">
            <a:extLst>
              <a:ext uri="{FF2B5EF4-FFF2-40B4-BE49-F238E27FC236}">
                <a16:creationId xmlns:a16="http://schemas.microsoft.com/office/drawing/2014/main" id="{4FCCD0D8-63A8-47F2-A4CA-E0188CBADBF6}"/>
              </a:ext>
            </a:extLst>
          </p:cNvPr>
          <p:cNvSpPr/>
          <p:nvPr/>
        </p:nvSpPr>
        <p:spPr>
          <a:xfrm>
            <a:off x="912091" y="2842645"/>
            <a:ext cx="1626052" cy="523220"/>
          </a:xfrm>
          <a:prstGeom prst="rect">
            <a:avLst/>
          </a:prstGeom>
        </p:spPr>
        <p:txBody>
          <a:bodyPr wrap="square">
            <a:spAutoFit/>
          </a:bodyPr>
          <a:lstStyle/>
          <a:p>
            <a:r>
              <a:rPr lang="fr-FR" sz="1400" b="1" dirty="0">
                <a:solidFill>
                  <a:schemeClr val="bg2">
                    <a:lumMod val="50000"/>
                  </a:schemeClr>
                </a:solidFill>
              </a:rPr>
              <a:t>Principe opérationnel</a:t>
            </a:r>
          </a:p>
        </p:txBody>
      </p:sp>
      <p:grpSp>
        <p:nvGrpSpPr>
          <p:cNvPr id="64" name="Groupe 63">
            <a:extLst>
              <a:ext uri="{FF2B5EF4-FFF2-40B4-BE49-F238E27FC236}">
                <a16:creationId xmlns:a16="http://schemas.microsoft.com/office/drawing/2014/main" id="{3722BC45-A2D6-4F4F-9887-C7F8B32C066D}"/>
              </a:ext>
            </a:extLst>
          </p:cNvPr>
          <p:cNvGrpSpPr>
            <a:grpSpLocks noChangeAspect="1"/>
          </p:cNvGrpSpPr>
          <p:nvPr/>
        </p:nvGrpSpPr>
        <p:grpSpPr>
          <a:xfrm>
            <a:off x="318636" y="2817120"/>
            <a:ext cx="571320" cy="538423"/>
            <a:chOff x="2115476" y="2239862"/>
            <a:chExt cx="912796" cy="860237"/>
          </a:xfrm>
          <a:effectLst>
            <a:outerShdw blurRad="50800" dist="38100" dir="2700000" algn="tl" rotWithShape="0">
              <a:prstClr val="black">
                <a:alpha val="40000"/>
              </a:prstClr>
            </a:outerShdw>
          </a:effectLst>
        </p:grpSpPr>
        <p:sp>
          <p:nvSpPr>
            <p:cNvPr id="65" name="Freeform 217">
              <a:extLst>
                <a:ext uri="{FF2B5EF4-FFF2-40B4-BE49-F238E27FC236}">
                  <a16:creationId xmlns:a16="http://schemas.microsoft.com/office/drawing/2014/main" id="{8DBACE4D-285A-4F2E-A758-3961FD186E4B}"/>
                </a:ext>
              </a:extLst>
            </p:cNvPr>
            <p:cNvSpPr>
              <a:spLocks noChangeAspect="1"/>
            </p:cNvSpPr>
            <p:nvPr/>
          </p:nvSpPr>
          <p:spPr bwMode="auto">
            <a:xfrm>
              <a:off x="2115476" y="2239862"/>
              <a:ext cx="912796" cy="860237"/>
            </a:xfrm>
            <a:custGeom>
              <a:avLst/>
              <a:gdLst>
                <a:gd name="T0" fmla="*/ 62 w 430"/>
                <a:gd name="T1" fmla="*/ 315 h 402"/>
                <a:gd name="T2" fmla="*/ 103 w 430"/>
                <a:gd name="T3" fmla="*/ 60 h 402"/>
                <a:gd name="T4" fmla="*/ 368 w 430"/>
                <a:gd name="T5" fmla="*/ 98 h 402"/>
                <a:gd name="T6" fmla="*/ 320 w 430"/>
                <a:gd name="T7" fmla="*/ 342 h 402"/>
                <a:gd name="T8" fmla="*/ 62 w 430"/>
                <a:gd name="T9" fmla="*/ 315 h 402"/>
              </a:gdLst>
              <a:ahLst/>
              <a:cxnLst>
                <a:cxn ang="0">
                  <a:pos x="T0" y="T1"/>
                </a:cxn>
                <a:cxn ang="0">
                  <a:pos x="T2" y="T3"/>
                </a:cxn>
                <a:cxn ang="0">
                  <a:pos x="T4" y="T5"/>
                </a:cxn>
                <a:cxn ang="0">
                  <a:pos x="T6" y="T7"/>
                </a:cxn>
                <a:cxn ang="0">
                  <a:pos x="T8" y="T9"/>
                </a:cxn>
              </a:cxnLst>
              <a:rect l="0" t="0" r="r" b="b"/>
              <a:pathLst>
                <a:path w="430" h="402">
                  <a:moveTo>
                    <a:pt x="62" y="315"/>
                  </a:moveTo>
                  <a:cubicBezTo>
                    <a:pt x="0" y="234"/>
                    <a:pt x="18" y="120"/>
                    <a:pt x="103" y="60"/>
                  </a:cubicBezTo>
                  <a:cubicBezTo>
                    <a:pt x="188" y="0"/>
                    <a:pt x="306" y="17"/>
                    <a:pt x="368" y="98"/>
                  </a:cubicBezTo>
                  <a:cubicBezTo>
                    <a:pt x="430" y="178"/>
                    <a:pt x="405" y="282"/>
                    <a:pt x="320" y="342"/>
                  </a:cubicBezTo>
                  <a:cubicBezTo>
                    <a:pt x="235" y="402"/>
                    <a:pt x="123" y="395"/>
                    <a:pt x="62" y="315"/>
                  </a:cubicBezTo>
                </a:path>
              </a:pathLst>
            </a:custGeom>
            <a:solidFill>
              <a:srgbClr val="0070C0"/>
            </a:solidFill>
            <a:ln>
              <a:noFill/>
            </a:ln>
          </p:spPr>
          <p:txBody>
            <a:bodyPr vert="horz" wrap="square" lIns="74295" tIns="37148" rIns="74295" bIns="37148" numCol="1" anchor="t" anchorCtr="0" compatLnSpc="1">
              <a:prstTxWarp prst="textNoShape">
                <a:avLst/>
              </a:prstTxWarp>
            </a:bodyPr>
            <a:lstStyle/>
            <a:p>
              <a:pPr defTabSz="742950"/>
              <a:endParaRPr lang="en-US" sz="1600" dirty="0">
                <a:solidFill>
                  <a:srgbClr val="000000"/>
                </a:solidFill>
                <a:latin typeface="Verdana"/>
              </a:endParaRPr>
            </a:p>
          </p:txBody>
        </p:sp>
        <p:grpSp>
          <p:nvGrpSpPr>
            <p:cNvPr id="66" name="Group 892">
              <a:extLst>
                <a:ext uri="{FF2B5EF4-FFF2-40B4-BE49-F238E27FC236}">
                  <a16:creationId xmlns:a16="http://schemas.microsoft.com/office/drawing/2014/main" id="{455DE099-00F1-4507-AB65-33F1BAE3B7E9}"/>
                </a:ext>
              </a:extLst>
            </p:cNvPr>
            <p:cNvGrpSpPr/>
            <p:nvPr/>
          </p:nvGrpSpPr>
          <p:grpSpPr>
            <a:xfrm>
              <a:off x="2302485" y="2436724"/>
              <a:ext cx="448686" cy="445174"/>
              <a:chOff x="11076038" y="4842626"/>
              <a:chExt cx="894239" cy="887242"/>
            </a:xfrm>
            <a:solidFill>
              <a:schemeClr val="bg1"/>
            </a:solidFill>
          </p:grpSpPr>
          <p:sp>
            <p:nvSpPr>
              <p:cNvPr id="67" name="Freeform 34">
                <a:extLst>
                  <a:ext uri="{FF2B5EF4-FFF2-40B4-BE49-F238E27FC236}">
                    <a16:creationId xmlns:a16="http://schemas.microsoft.com/office/drawing/2014/main" id="{1CF5E39E-B7BC-4D2A-9E5C-9F6048B820DC}"/>
                  </a:ext>
                </a:extLst>
              </p:cNvPr>
              <p:cNvSpPr>
                <a:spLocks/>
              </p:cNvSpPr>
              <p:nvPr/>
            </p:nvSpPr>
            <p:spPr bwMode="auto">
              <a:xfrm>
                <a:off x="11132015" y="5342224"/>
                <a:ext cx="383445" cy="387644"/>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2FD6D5"/>
              </a:solidFill>
              <a:ln>
                <a:noFill/>
              </a:ln>
            </p:spPr>
            <p:txBody>
              <a:bodyPr vert="horz" wrap="square" lIns="91440" tIns="45720" rIns="91440" bIns="45720" numCol="1" anchor="t" anchorCtr="0" compatLnSpc="1">
                <a:prstTxWarp prst="textNoShape">
                  <a:avLst/>
                </a:prstTxWarp>
              </a:bodyPr>
              <a:lstStyle/>
              <a:p>
                <a:endParaRPr lang="en-IE"/>
              </a:p>
            </p:txBody>
          </p:sp>
          <p:sp>
            <p:nvSpPr>
              <p:cNvPr id="68" name="Freeform 35">
                <a:extLst>
                  <a:ext uri="{FF2B5EF4-FFF2-40B4-BE49-F238E27FC236}">
                    <a16:creationId xmlns:a16="http://schemas.microsoft.com/office/drawing/2014/main" id="{2F76038D-0F3C-47D3-88F0-D9C54F562326}"/>
                  </a:ext>
                </a:extLst>
              </p:cNvPr>
              <p:cNvSpPr>
                <a:spLocks/>
              </p:cNvSpPr>
              <p:nvPr/>
            </p:nvSpPr>
            <p:spPr bwMode="auto">
              <a:xfrm>
                <a:off x="11348928" y="5115515"/>
                <a:ext cx="607355" cy="607355"/>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sp>
            <p:nvSpPr>
              <p:cNvPr id="69" name="Freeform 36">
                <a:extLst>
                  <a:ext uri="{FF2B5EF4-FFF2-40B4-BE49-F238E27FC236}">
                    <a16:creationId xmlns:a16="http://schemas.microsoft.com/office/drawing/2014/main" id="{0F95C7D3-CA7E-4FA2-9AC7-155FC8B45702}"/>
                  </a:ext>
                </a:extLst>
              </p:cNvPr>
              <p:cNvSpPr>
                <a:spLocks/>
              </p:cNvSpPr>
              <p:nvPr/>
            </p:nvSpPr>
            <p:spPr bwMode="auto">
              <a:xfrm>
                <a:off x="11575636" y="4883209"/>
                <a:ext cx="394641" cy="398840"/>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2FD6D5"/>
              </a:solidFill>
              <a:ln>
                <a:noFill/>
              </a:ln>
            </p:spPr>
            <p:txBody>
              <a:bodyPr vert="horz" wrap="square" lIns="91440" tIns="45720" rIns="91440" bIns="45720" numCol="1" anchor="t" anchorCtr="0" compatLnSpc="1">
                <a:prstTxWarp prst="textNoShape">
                  <a:avLst/>
                </a:prstTxWarp>
              </a:bodyPr>
              <a:lstStyle/>
              <a:p>
                <a:endParaRPr lang="en-IE"/>
              </a:p>
            </p:txBody>
          </p:sp>
          <p:sp>
            <p:nvSpPr>
              <p:cNvPr id="70" name="Freeform 37">
                <a:extLst>
                  <a:ext uri="{FF2B5EF4-FFF2-40B4-BE49-F238E27FC236}">
                    <a16:creationId xmlns:a16="http://schemas.microsoft.com/office/drawing/2014/main" id="{93F60DC4-9669-4516-9B21-9EFB6E7DFF4C}"/>
                  </a:ext>
                </a:extLst>
              </p:cNvPr>
              <p:cNvSpPr>
                <a:spLocks/>
              </p:cNvSpPr>
              <p:nvPr/>
            </p:nvSpPr>
            <p:spPr bwMode="auto">
              <a:xfrm>
                <a:off x="11076038" y="4842626"/>
                <a:ext cx="424029" cy="424029"/>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grpFill/>
              <a:ln>
                <a:noFill/>
              </a:ln>
            </p:spPr>
            <p:txBody>
              <a:bodyPr vert="horz" wrap="square" lIns="91440" tIns="45720" rIns="91440" bIns="45720" numCol="1" anchor="t" anchorCtr="0" compatLnSpc="1">
                <a:prstTxWarp prst="textNoShape">
                  <a:avLst/>
                </a:prstTxWarp>
              </a:bodyPr>
              <a:lstStyle/>
              <a:p>
                <a:endParaRPr lang="en-IE"/>
              </a:p>
            </p:txBody>
          </p:sp>
        </p:grpSp>
      </p:grpSp>
      <p:grpSp>
        <p:nvGrpSpPr>
          <p:cNvPr id="71" name="Group 597">
            <a:extLst>
              <a:ext uri="{FF2B5EF4-FFF2-40B4-BE49-F238E27FC236}">
                <a16:creationId xmlns:a16="http://schemas.microsoft.com/office/drawing/2014/main" id="{B96ED876-C1D6-450B-9D58-B76BE1E47137}"/>
              </a:ext>
            </a:extLst>
          </p:cNvPr>
          <p:cNvGrpSpPr>
            <a:grpSpLocks noChangeAspect="1"/>
          </p:cNvGrpSpPr>
          <p:nvPr/>
        </p:nvGrpSpPr>
        <p:grpSpPr>
          <a:xfrm>
            <a:off x="343392" y="3613387"/>
            <a:ext cx="546723" cy="515086"/>
            <a:chOff x="2794000" y="5657850"/>
            <a:chExt cx="877887" cy="827088"/>
          </a:xfrm>
          <a:effectLst>
            <a:outerShdw blurRad="50800" dist="38100" dir="2700000" algn="tl" rotWithShape="0">
              <a:prstClr val="black">
                <a:alpha val="40000"/>
              </a:prstClr>
            </a:outerShdw>
          </a:effectLst>
        </p:grpSpPr>
        <p:sp>
          <p:nvSpPr>
            <p:cNvPr id="72" name="Freeform 233">
              <a:extLst>
                <a:ext uri="{FF2B5EF4-FFF2-40B4-BE49-F238E27FC236}">
                  <a16:creationId xmlns:a16="http://schemas.microsoft.com/office/drawing/2014/main" id="{79EE490B-51D7-40F4-952C-64E8FC65DAAB}"/>
                </a:ext>
              </a:extLst>
            </p:cNvPr>
            <p:cNvSpPr>
              <a:spLocks/>
            </p:cNvSpPr>
            <p:nvPr/>
          </p:nvSpPr>
          <p:spPr bwMode="auto">
            <a:xfrm>
              <a:off x="2794000" y="5657850"/>
              <a:ext cx="877887" cy="827088"/>
            </a:xfrm>
            <a:custGeom>
              <a:avLst/>
              <a:gdLst>
                <a:gd name="T0" fmla="*/ 66 w 457"/>
                <a:gd name="T1" fmla="*/ 333 h 427"/>
                <a:gd name="T2" fmla="*/ 109 w 457"/>
                <a:gd name="T3" fmla="*/ 63 h 427"/>
                <a:gd name="T4" fmla="*/ 391 w 457"/>
                <a:gd name="T5" fmla="*/ 103 h 427"/>
                <a:gd name="T6" fmla="*/ 340 w 457"/>
                <a:gd name="T7" fmla="*/ 363 h 427"/>
                <a:gd name="T8" fmla="*/ 66 w 457"/>
                <a:gd name="T9" fmla="*/ 333 h 427"/>
              </a:gdLst>
              <a:ahLst/>
              <a:cxnLst>
                <a:cxn ang="0">
                  <a:pos x="T0" y="T1"/>
                </a:cxn>
                <a:cxn ang="0">
                  <a:pos x="T2" y="T3"/>
                </a:cxn>
                <a:cxn ang="0">
                  <a:pos x="T4" y="T5"/>
                </a:cxn>
                <a:cxn ang="0">
                  <a:pos x="T6" y="T7"/>
                </a:cxn>
                <a:cxn ang="0">
                  <a:pos x="T8" y="T9"/>
                </a:cxn>
              </a:cxnLst>
              <a:rect l="0" t="0" r="r" b="b"/>
              <a:pathLst>
                <a:path w="457" h="427">
                  <a:moveTo>
                    <a:pt x="66" y="333"/>
                  </a:moveTo>
                  <a:cubicBezTo>
                    <a:pt x="0" y="248"/>
                    <a:pt x="20" y="127"/>
                    <a:pt x="109" y="63"/>
                  </a:cubicBezTo>
                  <a:cubicBezTo>
                    <a:pt x="199" y="0"/>
                    <a:pt x="325" y="18"/>
                    <a:pt x="391" y="103"/>
                  </a:cubicBezTo>
                  <a:cubicBezTo>
                    <a:pt x="457" y="189"/>
                    <a:pt x="430" y="299"/>
                    <a:pt x="340" y="363"/>
                  </a:cubicBezTo>
                  <a:cubicBezTo>
                    <a:pt x="250" y="427"/>
                    <a:pt x="131" y="419"/>
                    <a:pt x="66" y="333"/>
                  </a:cubicBezTo>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 name="Freeform 234">
              <a:extLst>
                <a:ext uri="{FF2B5EF4-FFF2-40B4-BE49-F238E27FC236}">
                  <a16:creationId xmlns:a16="http://schemas.microsoft.com/office/drawing/2014/main" id="{73F743A8-8AE8-42D0-943C-824D7A496C9A}"/>
                </a:ext>
              </a:extLst>
            </p:cNvPr>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35">
              <a:extLst>
                <a:ext uri="{FF2B5EF4-FFF2-40B4-BE49-F238E27FC236}">
                  <a16:creationId xmlns:a16="http://schemas.microsoft.com/office/drawing/2014/main" id="{6EC0C79D-6013-4CF7-AA69-2D6CA63104DE}"/>
                </a:ext>
              </a:extLst>
            </p:cNvPr>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5" name="Freeform 250">
              <a:extLst>
                <a:ext uri="{FF2B5EF4-FFF2-40B4-BE49-F238E27FC236}">
                  <a16:creationId xmlns:a16="http://schemas.microsoft.com/office/drawing/2014/main" id="{02A352D7-6C39-4404-B15D-06D0DDD7B184}"/>
                </a:ext>
              </a:extLst>
            </p:cNvPr>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2" name="Groupe 111">
            <a:extLst>
              <a:ext uri="{FF2B5EF4-FFF2-40B4-BE49-F238E27FC236}">
                <a16:creationId xmlns:a16="http://schemas.microsoft.com/office/drawing/2014/main" id="{60708575-5D98-4E33-BC0B-77E053BDA809}"/>
              </a:ext>
            </a:extLst>
          </p:cNvPr>
          <p:cNvGrpSpPr/>
          <p:nvPr/>
        </p:nvGrpSpPr>
        <p:grpSpPr>
          <a:xfrm>
            <a:off x="4481873" y="2781270"/>
            <a:ext cx="2401041" cy="764520"/>
            <a:chOff x="2558164" y="2701274"/>
            <a:chExt cx="2401041" cy="764520"/>
          </a:xfrm>
        </p:grpSpPr>
        <p:sp>
          <p:nvSpPr>
            <p:cNvPr id="83" name="ZoneTexte 82">
              <a:extLst>
                <a:ext uri="{FF2B5EF4-FFF2-40B4-BE49-F238E27FC236}">
                  <a16:creationId xmlns:a16="http://schemas.microsoft.com/office/drawing/2014/main" id="{C5CA43A0-B4DC-4B4B-9D63-B5BEE5481BE3}"/>
                </a:ext>
              </a:extLst>
            </p:cNvPr>
            <p:cNvSpPr txBox="1"/>
            <p:nvPr/>
          </p:nvSpPr>
          <p:spPr>
            <a:xfrm>
              <a:off x="3092144" y="2701274"/>
              <a:ext cx="1070727" cy="369332"/>
            </a:xfrm>
            <a:prstGeom prst="rect">
              <a:avLst/>
            </a:prstGeom>
            <a:noFill/>
          </p:spPr>
          <p:txBody>
            <a:bodyPr wrap="square" rtlCol="0">
              <a:spAutoFit/>
            </a:bodyPr>
            <a:lstStyle/>
            <a:p>
              <a:r>
                <a:rPr lang="fr-FR" b="1" dirty="0">
                  <a:solidFill>
                    <a:srgbClr val="00B0F0"/>
                  </a:solidFill>
                  <a:effectLst>
                    <a:outerShdw blurRad="38100" dist="38100" dir="2700000" algn="tl">
                      <a:srgbClr val="000000">
                        <a:alpha val="43137"/>
                      </a:srgbClr>
                    </a:outerShdw>
                  </a:effectLst>
                </a:rPr>
                <a:t>55 %</a:t>
              </a:r>
            </a:p>
          </p:txBody>
        </p:sp>
        <p:grpSp>
          <p:nvGrpSpPr>
            <p:cNvPr id="94" name="Group 580">
              <a:extLst>
                <a:ext uri="{FF2B5EF4-FFF2-40B4-BE49-F238E27FC236}">
                  <a16:creationId xmlns:a16="http://schemas.microsoft.com/office/drawing/2014/main" id="{42A468B0-6FA6-41FC-83CE-75E1889B5AA9}"/>
                </a:ext>
              </a:extLst>
            </p:cNvPr>
            <p:cNvGrpSpPr/>
            <p:nvPr/>
          </p:nvGrpSpPr>
          <p:grpSpPr>
            <a:xfrm>
              <a:off x="2558164" y="2769828"/>
              <a:ext cx="535052" cy="476499"/>
              <a:chOff x="3956051" y="2425587"/>
              <a:chExt cx="842963" cy="793750"/>
            </a:xfrm>
          </p:grpSpPr>
          <p:sp>
            <p:nvSpPr>
              <p:cNvPr id="95" name="Freeform 51">
                <a:extLst>
                  <a:ext uri="{FF2B5EF4-FFF2-40B4-BE49-F238E27FC236}">
                    <a16:creationId xmlns:a16="http://schemas.microsoft.com/office/drawing/2014/main" id="{C4CE6776-C947-4193-8301-0349B748948E}"/>
                  </a:ext>
                </a:extLst>
              </p:cNvPr>
              <p:cNvSpPr>
                <a:spLocks/>
              </p:cNvSpPr>
              <p:nvPr/>
            </p:nvSpPr>
            <p:spPr bwMode="auto">
              <a:xfrm>
                <a:off x="3956051" y="2425587"/>
                <a:ext cx="842963" cy="793750"/>
              </a:xfrm>
              <a:custGeom>
                <a:avLst/>
                <a:gdLst>
                  <a:gd name="T0" fmla="*/ 51 w 440"/>
                  <a:gd name="T1" fmla="*/ 298 h 410"/>
                  <a:gd name="T2" fmla="*/ 127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7" y="48"/>
                    </a:cubicBezTo>
                    <a:cubicBezTo>
                      <a:pt x="221" y="0"/>
                      <a:pt x="338" y="33"/>
                      <a:pt x="389" y="122"/>
                    </a:cubicBezTo>
                    <a:cubicBezTo>
                      <a:pt x="440" y="212"/>
                      <a:pt x="400" y="313"/>
                      <a:pt x="307" y="362"/>
                    </a:cubicBezTo>
                    <a:cubicBezTo>
                      <a:pt x="213" y="410"/>
                      <a:pt x="102" y="388"/>
                      <a:pt x="51" y="298"/>
                    </a:cubicBezTo>
                  </a:path>
                </a:pathLst>
              </a:custGeom>
              <a:solidFill>
                <a:srgbClr val="00B0F0"/>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96" name="Freeform 52">
                <a:extLst>
                  <a:ext uri="{FF2B5EF4-FFF2-40B4-BE49-F238E27FC236}">
                    <a16:creationId xmlns:a16="http://schemas.microsoft.com/office/drawing/2014/main" id="{1A6FD86B-8F39-48A4-A75D-CB26893BED13}"/>
                  </a:ext>
                </a:extLst>
              </p:cNvPr>
              <p:cNvSpPr>
                <a:spLocks/>
              </p:cNvSpPr>
              <p:nvPr/>
            </p:nvSpPr>
            <p:spPr bwMode="auto">
              <a:xfrm>
                <a:off x="4184651" y="2654187"/>
                <a:ext cx="404813" cy="347663"/>
              </a:xfrm>
              <a:custGeom>
                <a:avLst/>
                <a:gdLst>
                  <a:gd name="T0" fmla="*/ 199 w 211"/>
                  <a:gd name="T1" fmla="*/ 146 h 180"/>
                  <a:gd name="T2" fmla="*/ 30 w 211"/>
                  <a:gd name="T3" fmla="*/ 152 h 180"/>
                  <a:gd name="T4" fmla="*/ 26 w 211"/>
                  <a:gd name="T5" fmla="*/ 13 h 180"/>
                  <a:gd name="T6" fmla="*/ 0 w 211"/>
                  <a:gd name="T7" fmla="*/ 12 h 180"/>
                  <a:gd name="T8" fmla="*/ 5 w 211"/>
                  <a:gd name="T9" fmla="*/ 171 h 180"/>
                  <a:gd name="T10" fmla="*/ 6 w 211"/>
                  <a:gd name="T11" fmla="*/ 171 h 180"/>
                  <a:gd name="T12" fmla="*/ 5 w 211"/>
                  <a:gd name="T13" fmla="*/ 174 h 180"/>
                  <a:gd name="T14" fmla="*/ 197 w 211"/>
                  <a:gd name="T15" fmla="*/ 172 h 180"/>
                  <a:gd name="T16" fmla="*/ 199 w 211"/>
                  <a:gd name="T17" fmla="*/ 14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80">
                    <a:moveTo>
                      <a:pt x="199" y="146"/>
                    </a:moveTo>
                    <a:cubicBezTo>
                      <a:pt x="193" y="155"/>
                      <a:pt x="61" y="154"/>
                      <a:pt x="30" y="152"/>
                    </a:cubicBezTo>
                    <a:cubicBezTo>
                      <a:pt x="31" y="126"/>
                      <a:pt x="33" y="22"/>
                      <a:pt x="26" y="13"/>
                    </a:cubicBezTo>
                    <a:cubicBezTo>
                      <a:pt x="18" y="0"/>
                      <a:pt x="0" y="12"/>
                      <a:pt x="0" y="12"/>
                    </a:cubicBezTo>
                    <a:cubicBezTo>
                      <a:pt x="13" y="20"/>
                      <a:pt x="5" y="171"/>
                      <a:pt x="5" y="171"/>
                    </a:cubicBezTo>
                    <a:cubicBezTo>
                      <a:pt x="6" y="171"/>
                      <a:pt x="6" y="171"/>
                      <a:pt x="6" y="171"/>
                    </a:cubicBezTo>
                    <a:cubicBezTo>
                      <a:pt x="5" y="174"/>
                      <a:pt x="5" y="174"/>
                      <a:pt x="5" y="174"/>
                    </a:cubicBezTo>
                    <a:cubicBezTo>
                      <a:pt x="5" y="174"/>
                      <a:pt x="184" y="180"/>
                      <a:pt x="197" y="172"/>
                    </a:cubicBezTo>
                    <a:cubicBezTo>
                      <a:pt x="211" y="164"/>
                      <a:pt x="199" y="146"/>
                      <a:pt x="199" y="14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53">
                <a:extLst>
                  <a:ext uri="{FF2B5EF4-FFF2-40B4-BE49-F238E27FC236}">
                    <a16:creationId xmlns:a16="http://schemas.microsoft.com/office/drawing/2014/main" id="{BA1CF664-8645-44C7-B71D-BC3448F36E1F}"/>
                  </a:ext>
                </a:extLst>
              </p:cNvPr>
              <p:cNvSpPr>
                <a:spLocks/>
              </p:cNvSpPr>
              <p:nvPr/>
            </p:nvSpPr>
            <p:spPr bwMode="auto">
              <a:xfrm rot="11070694" flipH="1">
                <a:off x="4242060" y="2691715"/>
                <a:ext cx="314462" cy="224067"/>
              </a:xfrm>
              <a:custGeom>
                <a:avLst/>
                <a:gdLst>
                  <a:gd name="T0" fmla="*/ 102 w 160"/>
                  <a:gd name="T1" fmla="*/ 4 h 110"/>
                  <a:gd name="T2" fmla="*/ 103 w 160"/>
                  <a:gd name="T3" fmla="*/ 4 h 110"/>
                  <a:gd name="T4" fmla="*/ 159 w 160"/>
                  <a:gd name="T5" fmla="*/ 0 h 110"/>
                  <a:gd name="T6" fmla="*/ 160 w 160"/>
                  <a:gd name="T7" fmla="*/ 0 h 110"/>
                  <a:gd name="T8" fmla="*/ 150 w 160"/>
                  <a:gd name="T9" fmla="*/ 56 h 110"/>
                  <a:gd name="T10" fmla="*/ 134 w 160"/>
                  <a:gd name="T11" fmla="*/ 39 h 110"/>
                  <a:gd name="T12" fmla="*/ 84 w 160"/>
                  <a:gd name="T13" fmla="*/ 84 h 110"/>
                  <a:gd name="T14" fmla="*/ 74 w 160"/>
                  <a:gd name="T15" fmla="*/ 77 h 110"/>
                  <a:gd name="T16" fmla="*/ 64 w 160"/>
                  <a:gd name="T17" fmla="*/ 70 h 110"/>
                  <a:gd name="T18" fmla="*/ 15 w 160"/>
                  <a:gd name="T19" fmla="*/ 110 h 110"/>
                  <a:gd name="T20" fmla="*/ 0 w 160"/>
                  <a:gd name="T21" fmla="*/ 91 h 110"/>
                  <a:gd name="T22" fmla="*/ 0 w 160"/>
                  <a:gd name="T23" fmla="*/ 91 h 110"/>
                  <a:gd name="T24" fmla="*/ 62 w 160"/>
                  <a:gd name="T25" fmla="*/ 41 h 110"/>
                  <a:gd name="T26" fmla="*/ 73 w 160"/>
                  <a:gd name="T27" fmla="*/ 46 h 110"/>
                  <a:gd name="T28" fmla="*/ 83 w 160"/>
                  <a:gd name="T29" fmla="*/ 53 h 110"/>
                  <a:gd name="T30" fmla="*/ 118 w 160"/>
                  <a:gd name="T31" fmla="*/ 21 h 110"/>
                  <a:gd name="T32" fmla="*/ 102 w 160"/>
                  <a:gd name="T3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110">
                    <a:moveTo>
                      <a:pt x="102" y="4"/>
                    </a:moveTo>
                    <a:cubicBezTo>
                      <a:pt x="102" y="4"/>
                      <a:pt x="103" y="4"/>
                      <a:pt x="103" y="4"/>
                    </a:cubicBezTo>
                    <a:cubicBezTo>
                      <a:pt x="121" y="3"/>
                      <a:pt x="141" y="1"/>
                      <a:pt x="159" y="0"/>
                    </a:cubicBezTo>
                    <a:cubicBezTo>
                      <a:pt x="159" y="0"/>
                      <a:pt x="160" y="0"/>
                      <a:pt x="160" y="0"/>
                    </a:cubicBezTo>
                    <a:cubicBezTo>
                      <a:pt x="159" y="18"/>
                      <a:pt x="158" y="36"/>
                      <a:pt x="150" y="56"/>
                    </a:cubicBezTo>
                    <a:cubicBezTo>
                      <a:pt x="145" y="51"/>
                      <a:pt x="139" y="47"/>
                      <a:pt x="134" y="39"/>
                    </a:cubicBezTo>
                    <a:cubicBezTo>
                      <a:pt x="118" y="54"/>
                      <a:pt x="101" y="69"/>
                      <a:pt x="84" y="84"/>
                    </a:cubicBezTo>
                    <a:cubicBezTo>
                      <a:pt x="81" y="82"/>
                      <a:pt x="78" y="80"/>
                      <a:pt x="74" y="77"/>
                    </a:cubicBezTo>
                    <a:cubicBezTo>
                      <a:pt x="71" y="75"/>
                      <a:pt x="67" y="72"/>
                      <a:pt x="64" y="70"/>
                    </a:cubicBezTo>
                    <a:cubicBezTo>
                      <a:pt x="48" y="84"/>
                      <a:pt x="31" y="97"/>
                      <a:pt x="15" y="110"/>
                    </a:cubicBezTo>
                    <a:cubicBezTo>
                      <a:pt x="12" y="103"/>
                      <a:pt x="1" y="100"/>
                      <a:pt x="0" y="91"/>
                    </a:cubicBezTo>
                    <a:cubicBezTo>
                      <a:pt x="0" y="91"/>
                      <a:pt x="0" y="91"/>
                      <a:pt x="0" y="91"/>
                    </a:cubicBezTo>
                    <a:cubicBezTo>
                      <a:pt x="21" y="74"/>
                      <a:pt x="41" y="58"/>
                      <a:pt x="62" y="41"/>
                    </a:cubicBezTo>
                    <a:cubicBezTo>
                      <a:pt x="66" y="40"/>
                      <a:pt x="68" y="43"/>
                      <a:pt x="73" y="46"/>
                    </a:cubicBezTo>
                    <a:cubicBezTo>
                      <a:pt x="76" y="49"/>
                      <a:pt x="79" y="52"/>
                      <a:pt x="83" y="53"/>
                    </a:cubicBezTo>
                    <a:cubicBezTo>
                      <a:pt x="94" y="43"/>
                      <a:pt x="106" y="32"/>
                      <a:pt x="118" y="21"/>
                    </a:cubicBezTo>
                    <a:cubicBezTo>
                      <a:pt x="110" y="17"/>
                      <a:pt x="107" y="10"/>
                      <a:pt x="10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98" name="Rectangle 97">
              <a:extLst>
                <a:ext uri="{FF2B5EF4-FFF2-40B4-BE49-F238E27FC236}">
                  <a16:creationId xmlns:a16="http://schemas.microsoft.com/office/drawing/2014/main" id="{FF83EA06-107E-4207-AF60-970B313F1853}"/>
                </a:ext>
              </a:extLst>
            </p:cNvPr>
            <p:cNvSpPr/>
            <p:nvPr/>
          </p:nvSpPr>
          <p:spPr>
            <a:xfrm>
              <a:off x="3060085" y="2942574"/>
              <a:ext cx="1899120" cy="523220"/>
            </a:xfrm>
            <a:prstGeom prst="rect">
              <a:avLst/>
            </a:prstGeom>
          </p:spPr>
          <p:txBody>
            <a:bodyPr wrap="square">
              <a:spAutoFit/>
            </a:bodyPr>
            <a:lstStyle/>
            <a:p>
              <a:r>
                <a:rPr lang="fr-FR" sz="1400" b="1" dirty="0">
                  <a:solidFill>
                    <a:schemeClr val="bg2">
                      <a:lumMod val="75000"/>
                    </a:schemeClr>
                  </a:solidFill>
                </a:rPr>
                <a:t>Diminution taux d’échec</a:t>
              </a:r>
            </a:p>
          </p:txBody>
        </p:sp>
      </p:grpSp>
      <p:grpSp>
        <p:nvGrpSpPr>
          <p:cNvPr id="113" name="Groupe 112">
            <a:extLst>
              <a:ext uri="{FF2B5EF4-FFF2-40B4-BE49-F238E27FC236}">
                <a16:creationId xmlns:a16="http://schemas.microsoft.com/office/drawing/2014/main" id="{1382AD49-08BB-4761-8EDE-897DA4836088}"/>
              </a:ext>
            </a:extLst>
          </p:cNvPr>
          <p:cNvGrpSpPr/>
          <p:nvPr/>
        </p:nvGrpSpPr>
        <p:grpSpPr>
          <a:xfrm>
            <a:off x="4481873" y="3851491"/>
            <a:ext cx="2196808" cy="597479"/>
            <a:chOff x="2558164" y="3499031"/>
            <a:chExt cx="2196808" cy="597479"/>
          </a:xfrm>
        </p:grpSpPr>
        <p:grpSp>
          <p:nvGrpSpPr>
            <p:cNvPr id="90" name="Group 580">
              <a:extLst>
                <a:ext uri="{FF2B5EF4-FFF2-40B4-BE49-F238E27FC236}">
                  <a16:creationId xmlns:a16="http://schemas.microsoft.com/office/drawing/2014/main" id="{8B392BBE-5BFF-4919-8947-36B5D44C8977}"/>
                </a:ext>
              </a:extLst>
            </p:cNvPr>
            <p:cNvGrpSpPr/>
            <p:nvPr/>
          </p:nvGrpSpPr>
          <p:grpSpPr>
            <a:xfrm>
              <a:off x="2558164" y="3518470"/>
              <a:ext cx="524662" cy="501167"/>
              <a:chOff x="3956051" y="2425587"/>
              <a:chExt cx="842963" cy="793750"/>
            </a:xfrm>
          </p:grpSpPr>
          <p:sp>
            <p:nvSpPr>
              <p:cNvPr id="91" name="Freeform 51">
                <a:extLst>
                  <a:ext uri="{FF2B5EF4-FFF2-40B4-BE49-F238E27FC236}">
                    <a16:creationId xmlns:a16="http://schemas.microsoft.com/office/drawing/2014/main" id="{42A6520E-E6BF-4AEB-BC2E-C07146404EEF}"/>
                  </a:ext>
                </a:extLst>
              </p:cNvPr>
              <p:cNvSpPr>
                <a:spLocks/>
              </p:cNvSpPr>
              <p:nvPr/>
            </p:nvSpPr>
            <p:spPr bwMode="auto">
              <a:xfrm>
                <a:off x="3956051" y="2425587"/>
                <a:ext cx="842963" cy="793750"/>
              </a:xfrm>
              <a:custGeom>
                <a:avLst/>
                <a:gdLst>
                  <a:gd name="T0" fmla="*/ 51 w 440"/>
                  <a:gd name="T1" fmla="*/ 298 h 410"/>
                  <a:gd name="T2" fmla="*/ 127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7" y="48"/>
                    </a:cubicBezTo>
                    <a:cubicBezTo>
                      <a:pt x="221" y="0"/>
                      <a:pt x="338" y="33"/>
                      <a:pt x="389" y="122"/>
                    </a:cubicBezTo>
                    <a:cubicBezTo>
                      <a:pt x="440" y="212"/>
                      <a:pt x="400" y="313"/>
                      <a:pt x="307" y="362"/>
                    </a:cubicBezTo>
                    <a:cubicBezTo>
                      <a:pt x="213" y="410"/>
                      <a:pt x="102" y="388"/>
                      <a:pt x="51" y="298"/>
                    </a:cubicBezTo>
                  </a:path>
                </a:pathLst>
              </a:custGeom>
              <a:solidFill>
                <a:srgbClr val="00B0F0"/>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92" name="Freeform 52">
                <a:extLst>
                  <a:ext uri="{FF2B5EF4-FFF2-40B4-BE49-F238E27FC236}">
                    <a16:creationId xmlns:a16="http://schemas.microsoft.com/office/drawing/2014/main" id="{34ADBD9C-3310-4B86-9148-3FAC73F58BD7}"/>
                  </a:ext>
                </a:extLst>
              </p:cNvPr>
              <p:cNvSpPr>
                <a:spLocks/>
              </p:cNvSpPr>
              <p:nvPr/>
            </p:nvSpPr>
            <p:spPr bwMode="auto">
              <a:xfrm>
                <a:off x="4184651" y="2654187"/>
                <a:ext cx="404813" cy="347663"/>
              </a:xfrm>
              <a:custGeom>
                <a:avLst/>
                <a:gdLst>
                  <a:gd name="T0" fmla="*/ 199 w 211"/>
                  <a:gd name="T1" fmla="*/ 146 h 180"/>
                  <a:gd name="T2" fmla="*/ 30 w 211"/>
                  <a:gd name="T3" fmla="*/ 152 h 180"/>
                  <a:gd name="T4" fmla="*/ 26 w 211"/>
                  <a:gd name="T5" fmla="*/ 13 h 180"/>
                  <a:gd name="T6" fmla="*/ 0 w 211"/>
                  <a:gd name="T7" fmla="*/ 12 h 180"/>
                  <a:gd name="T8" fmla="*/ 5 w 211"/>
                  <a:gd name="T9" fmla="*/ 171 h 180"/>
                  <a:gd name="T10" fmla="*/ 6 w 211"/>
                  <a:gd name="T11" fmla="*/ 171 h 180"/>
                  <a:gd name="T12" fmla="*/ 5 w 211"/>
                  <a:gd name="T13" fmla="*/ 174 h 180"/>
                  <a:gd name="T14" fmla="*/ 197 w 211"/>
                  <a:gd name="T15" fmla="*/ 172 h 180"/>
                  <a:gd name="T16" fmla="*/ 199 w 211"/>
                  <a:gd name="T17" fmla="*/ 14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80">
                    <a:moveTo>
                      <a:pt x="199" y="146"/>
                    </a:moveTo>
                    <a:cubicBezTo>
                      <a:pt x="193" y="155"/>
                      <a:pt x="61" y="154"/>
                      <a:pt x="30" y="152"/>
                    </a:cubicBezTo>
                    <a:cubicBezTo>
                      <a:pt x="31" y="126"/>
                      <a:pt x="33" y="22"/>
                      <a:pt x="26" y="13"/>
                    </a:cubicBezTo>
                    <a:cubicBezTo>
                      <a:pt x="18" y="0"/>
                      <a:pt x="0" y="12"/>
                      <a:pt x="0" y="12"/>
                    </a:cubicBezTo>
                    <a:cubicBezTo>
                      <a:pt x="13" y="20"/>
                      <a:pt x="5" y="171"/>
                      <a:pt x="5" y="171"/>
                    </a:cubicBezTo>
                    <a:cubicBezTo>
                      <a:pt x="6" y="171"/>
                      <a:pt x="6" y="171"/>
                      <a:pt x="6" y="171"/>
                    </a:cubicBezTo>
                    <a:cubicBezTo>
                      <a:pt x="5" y="174"/>
                      <a:pt x="5" y="174"/>
                      <a:pt x="5" y="174"/>
                    </a:cubicBezTo>
                    <a:cubicBezTo>
                      <a:pt x="5" y="174"/>
                      <a:pt x="184" y="180"/>
                      <a:pt x="197" y="172"/>
                    </a:cubicBezTo>
                    <a:cubicBezTo>
                      <a:pt x="211" y="164"/>
                      <a:pt x="199" y="146"/>
                      <a:pt x="199" y="14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53">
                <a:extLst>
                  <a:ext uri="{FF2B5EF4-FFF2-40B4-BE49-F238E27FC236}">
                    <a16:creationId xmlns:a16="http://schemas.microsoft.com/office/drawing/2014/main" id="{025B6A3B-D0FC-4E12-B5ED-5A9EC6DB1321}"/>
                  </a:ext>
                </a:extLst>
              </p:cNvPr>
              <p:cNvSpPr>
                <a:spLocks/>
              </p:cNvSpPr>
              <p:nvPr/>
            </p:nvSpPr>
            <p:spPr bwMode="auto">
              <a:xfrm>
                <a:off x="4281489" y="2689112"/>
                <a:ext cx="307975" cy="212725"/>
              </a:xfrm>
              <a:custGeom>
                <a:avLst/>
                <a:gdLst>
                  <a:gd name="T0" fmla="*/ 102 w 160"/>
                  <a:gd name="T1" fmla="*/ 4 h 110"/>
                  <a:gd name="T2" fmla="*/ 103 w 160"/>
                  <a:gd name="T3" fmla="*/ 4 h 110"/>
                  <a:gd name="T4" fmla="*/ 159 w 160"/>
                  <a:gd name="T5" fmla="*/ 0 h 110"/>
                  <a:gd name="T6" fmla="*/ 160 w 160"/>
                  <a:gd name="T7" fmla="*/ 0 h 110"/>
                  <a:gd name="T8" fmla="*/ 150 w 160"/>
                  <a:gd name="T9" fmla="*/ 56 h 110"/>
                  <a:gd name="T10" fmla="*/ 134 w 160"/>
                  <a:gd name="T11" fmla="*/ 39 h 110"/>
                  <a:gd name="T12" fmla="*/ 84 w 160"/>
                  <a:gd name="T13" fmla="*/ 84 h 110"/>
                  <a:gd name="T14" fmla="*/ 74 w 160"/>
                  <a:gd name="T15" fmla="*/ 77 h 110"/>
                  <a:gd name="T16" fmla="*/ 64 w 160"/>
                  <a:gd name="T17" fmla="*/ 70 h 110"/>
                  <a:gd name="T18" fmla="*/ 15 w 160"/>
                  <a:gd name="T19" fmla="*/ 110 h 110"/>
                  <a:gd name="T20" fmla="*/ 0 w 160"/>
                  <a:gd name="T21" fmla="*/ 91 h 110"/>
                  <a:gd name="T22" fmla="*/ 0 w 160"/>
                  <a:gd name="T23" fmla="*/ 91 h 110"/>
                  <a:gd name="T24" fmla="*/ 62 w 160"/>
                  <a:gd name="T25" fmla="*/ 41 h 110"/>
                  <a:gd name="T26" fmla="*/ 73 w 160"/>
                  <a:gd name="T27" fmla="*/ 46 h 110"/>
                  <a:gd name="T28" fmla="*/ 83 w 160"/>
                  <a:gd name="T29" fmla="*/ 53 h 110"/>
                  <a:gd name="T30" fmla="*/ 118 w 160"/>
                  <a:gd name="T31" fmla="*/ 21 h 110"/>
                  <a:gd name="T32" fmla="*/ 102 w 160"/>
                  <a:gd name="T3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110">
                    <a:moveTo>
                      <a:pt x="102" y="4"/>
                    </a:moveTo>
                    <a:cubicBezTo>
                      <a:pt x="102" y="4"/>
                      <a:pt x="103" y="4"/>
                      <a:pt x="103" y="4"/>
                    </a:cubicBezTo>
                    <a:cubicBezTo>
                      <a:pt x="121" y="3"/>
                      <a:pt x="141" y="1"/>
                      <a:pt x="159" y="0"/>
                    </a:cubicBezTo>
                    <a:cubicBezTo>
                      <a:pt x="159" y="0"/>
                      <a:pt x="160" y="0"/>
                      <a:pt x="160" y="0"/>
                    </a:cubicBezTo>
                    <a:cubicBezTo>
                      <a:pt x="159" y="18"/>
                      <a:pt x="158" y="36"/>
                      <a:pt x="150" y="56"/>
                    </a:cubicBezTo>
                    <a:cubicBezTo>
                      <a:pt x="145" y="51"/>
                      <a:pt x="139" y="47"/>
                      <a:pt x="134" y="39"/>
                    </a:cubicBezTo>
                    <a:cubicBezTo>
                      <a:pt x="118" y="54"/>
                      <a:pt x="101" y="69"/>
                      <a:pt x="84" y="84"/>
                    </a:cubicBezTo>
                    <a:cubicBezTo>
                      <a:pt x="81" y="82"/>
                      <a:pt x="78" y="80"/>
                      <a:pt x="74" y="77"/>
                    </a:cubicBezTo>
                    <a:cubicBezTo>
                      <a:pt x="71" y="75"/>
                      <a:pt x="67" y="72"/>
                      <a:pt x="64" y="70"/>
                    </a:cubicBezTo>
                    <a:cubicBezTo>
                      <a:pt x="48" y="84"/>
                      <a:pt x="31" y="97"/>
                      <a:pt x="15" y="110"/>
                    </a:cubicBezTo>
                    <a:cubicBezTo>
                      <a:pt x="12" y="103"/>
                      <a:pt x="1" y="100"/>
                      <a:pt x="0" y="91"/>
                    </a:cubicBezTo>
                    <a:cubicBezTo>
                      <a:pt x="0" y="91"/>
                      <a:pt x="0" y="91"/>
                      <a:pt x="0" y="91"/>
                    </a:cubicBezTo>
                    <a:cubicBezTo>
                      <a:pt x="21" y="74"/>
                      <a:pt x="41" y="58"/>
                      <a:pt x="62" y="41"/>
                    </a:cubicBezTo>
                    <a:cubicBezTo>
                      <a:pt x="66" y="40"/>
                      <a:pt x="68" y="43"/>
                      <a:pt x="73" y="46"/>
                    </a:cubicBezTo>
                    <a:cubicBezTo>
                      <a:pt x="76" y="49"/>
                      <a:pt x="79" y="52"/>
                      <a:pt x="83" y="53"/>
                    </a:cubicBezTo>
                    <a:cubicBezTo>
                      <a:pt x="94" y="43"/>
                      <a:pt x="106" y="32"/>
                      <a:pt x="118" y="21"/>
                    </a:cubicBezTo>
                    <a:cubicBezTo>
                      <a:pt x="110" y="17"/>
                      <a:pt x="107" y="10"/>
                      <a:pt x="10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00" name="Rectangle 99">
              <a:extLst>
                <a:ext uri="{FF2B5EF4-FFF2-40B4-BE49-F238E27FC236}">
                  <a16:creationId xmlns:a16="http://schemas.microsoft.com/office/drawing/2014/main" id="{AF0DB844-00E5-4BCC-B8D4-3560A8E87DC8}"/>
                </a:ext>
              </a:extLst>
            </p:cNvPr>
            <p:cNvSpPr/>
            <p:nvPr/>
          </p:nvSpPr>
          <p:spPr>
            <a:xfrm>
              <a:off x="3008981" y="3788733"/>
              <a:ext cx="1745991" cy="307777"/>
            </a:xfrm>
            <a:prstGeom prst="rect">
              <a:avLst/>
            </a:prstGeom>
          </p:spPr>
          <p:txBody>
            <a:bodyPr wrap="none">
              <a:spAutoFit/>
            </a:bodyPr>
            <a:lstStyle/>
            <a:p>
              <a:r>
                <a:rPr lang="fr-FR" sz="1400" b="1" dirty="0">
                  <a:solidFill>
                    <a:schemeClr val="bg2">
                      <a:lumMod val="75000"/>
                    </a:schemeClr>
                  </a:solidFill>
                </a:rPr>
                <a:t>Qualité de code</a:t>
              </a:r>
            </a:p>
          </p:txBody>
        </p:sp>
        <p:sp>
          <p:nvSpPr>
            <p:cNvPr id="102" name="ZoneTexte 101">
              <a:extLst>
                <a:ext uri="{FF2B5EF4-FFF2-40B4-BE49-F238E27FC236}">
                  <a16:creationId xmlns:a16="http://schemas.microsoft.com/office/drawing/2014/main" id="{73F8E9AD-9B5E-4C6B-B7B8-20F6F886CECC}"/>
                </a:ext>
              </a:extLst>
            </p:cNvPr>
            <p:cNvSpPr txBox="1"/>
            <p:nvPr/>
          </p:nvSpPr>
          <p:spPr>
            <a:xfrm>
              <a:off x="3045879" y="3499031"/>
              <a:ext cx="1070727" cy="369332"/>
            </a:xfrm>
            <a:prstGeom prst="rect">
              <a:avLst/>
            </a:prstGeom>
            <a:noFill/>
          </p:spPr>
          <p:txBody>
            <a:bodyPr wrap="square" rtlCol="0">
              <a:spAutoFit/>
            </a:bodyPr>
            <a:lstStyle/>
            <a:p>
              <a:r>
                <a:rPr lang="fr-FR" b="1" dirty="0">
                  <a:solidFill>
                    <a:srgbClr val="00B0F0"/>
                  </a:solidFill>
                  <a:effectLst>
                    <a:outerShdw blurRad="38100" dist="38100" dir="2700000" algn="tl">
                      <a:srgbClr val="000000">
                        <a:alpha val="43137"/>
                      </a:srgbClr>
                    </a:outerShdw>
                  </a:effectLst>
                </a:rPr>
                <a:t>38 %</a:t>
              </a:r>
            </a:p>
          </p:txBody>
        </p:sp>
      </p:grpSp>
      <p:grpSp>
        <p:nvGrpSpPr>
          <p:cNvPr id="240" name="Groupe 239">
            <a:extLst>
              <a:ext uri="{FF2B5EF4-FFF2-40B4-BE49-F238E27FC236}">
                <a16:creationId xmlns:a16="http://schemas.microsoft.com/office/drawing/2014/main" id="{8A4AFB69-CF21-4366-9A69-B9DA40C30381}"/>
              </a:ext>
            </a:extLst>
          </p:cNvPr>
          <p:cNvGrpSpPr/>
          <p:nvPr/>
        </p:nvGrpSpPr>
        <p:grpSpPr>
          <a:xfrm>
            <a:off x="4515539" y="1688463"/>
            <a:ext cx="2116416" cy="936115"/>
            <a:chOff x="4515539" y="1688463"/>
            <a:chExt cx="2116416" cy="936115"/>
          </a:xfrm>
        </p:grpSpPr>
        <p:grpSp>
          <p:nvGrpSpPr>
            <p:cNvPr id="103" name="Groupe 102">
              <a:extLst>
                <a:ext uri="{FF2B5EF4-FFF2-40B4-BE49-F238E27FC236}">
                  <a16:creationId xmlns:a16="http://schemas.microsoft.com/office/drawing/2014/main" id="{7A108C75-EE20-4332-95C5-DCB0FBD9D902}"/>
                </a:ext>
              </a:extLst>
            </p:cNvPr>
            <p:cNvGrpSpPr/>
            <p:nvPr/>
          </p:nvGrpSpPr>
          <p:grpSpPr>
            <a:xfrm>
              <a:off x="4515539" y="1688463"/>
              <a:ext cx="2048865" cy="936115"/>
              <a:chOff x="4911231" y="1415394"/>
              <a:chExt cx="2048865" cy="911139"/>
            </a:xfrm>
          </p:grpSpPr>
          <p:grpSp>
            <p:nvGrpSpPr>
              <p:cNvPr id="104" name="Groupe 103">
                <a:extLst>
                  <a:ext uri="{FF2B5EF4-FFF2-40B4-BE49-F238E27FC236}">
                    <a16:creationId xmlns:a16="http://schemas.microsoft.com/office/drawing/2014/main" id="{990A8EC8-4FCD-415D-8157-E6D10577E2C8}"/>
                  </a:ext>
                </a:extLst>
              </p:cNvPr>
              <p:cNvGrpSpPr/>
              <p:nvPr/>
            </p:nvGrpSpPr>
            <p:grpSpPr>
              <a:xfrm>
                <a:off x="5091098" y="1415394"/>
                <a:ext cx="190500" cy="425098"/>
                <a:chOff x="8767144" y="5825660"/>
                <a:chExt cx="190500" cy="425098"/>
              </a:xfrm>
            </p:grpSpPr>
            <p:sp>
              <p:nvSpPr>
                <p:cNvPr id="108" name="Oval 7">
                  <a:extLst>
                    <a:ext uri="{FF2B5EF4-FFF2-40B4-BE49-F238E27FC236}">
                      <a16:creationId xmlns:a16="http://schemas.microsoft.com/office/drawing/2014/main" id="{C1B419F4-CC40-4163-BD41-ACA60DE30077}"/>
                    </a:ext>
                  </a:extLst>
                </p:cNvPr>
                <p:cNvSpPr/>
                <p:nvPr/>
              </p:nvSpPr>
              <p:spPr>
                <a:xfrm>
                  <a:off x="8767144" y="5825660"/>
                  <a:ext cx="190500" cy="171207"/>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9" name="Straight Connector 11">
                  <a:extLst>
                    <a:ext uri="{FF2B5EF4-FFF2-40B4-BE49-F238E27FC236}">
                      <a16:creationId xmlns:a16="http://schemas.microsoft.com/office/drawing/2014/main" id="{06F883D3-E2D8-4D93-A654-4205218BA996}"/>
                    </a:ext>
                  </a:extLst>
                </p:cNvPr>
                <p:cNvCxnSpPr>
                  <a:cxnSpLocks/>
                </p:cNvCxnSpPr>
                <p:nvPr/>
              </p:nvCxnSpPr>
              <p:spPr>
                <a:xfrm flipV="1">
                  <a:off x="8862394" y="5996866"/>
                  <a:ext cx="0" cy="135172"/>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110" name="Oval 13">
                  <a:extLst>
                    <a:ext uri="{FF2B5EF4-FFF2-40B4-BE49-F238E27FC236}">
                      <a16:creationId xmlns:a16="http://schemas.microsoft.com/office/drawing/2014/main" id="{AD53A2D0-6C5D-44E9-9DAD-289A9284BED4}"/>
                    </a:ext>
                  </a:extLst>
                </p:cNvPr>
                <p:cNvSpPr/>
                <p:nvPr/>
              </p:nvSpPr>
              <p:spPr>
                <a:xfrm>
                  <a:off x="8800274" y="6126518"/>
                  <a:ext cx="124240" cy="12424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07" name="Straight Connector 63">
                <a:extLst>
                  <a:ext uri="{FF2B5EF4-FFF2-40B4-BE49-F238E27FC236}">
                    <a16:creationId xmlns:a16="http://schemas.microsoft.com/office/drawing/2014/main" id="{3986B0C2-E3C9-4256-894F-5BD634C8EFC8}"/>
                  </a:ext>
                </a:extLst>
              </p:cNvPr>
              <p:cNvCxnSpPr>
                <a:cxnSpLocks/>
              </p:cNvCxnSpPr>
              <p:nvPr/>
            </p:nvCxnSpPr>
            <p:spPr>
              <a:xfrm>
                <a:off x="4911231" y="2326533"/>
                <a:ext cx="2048865"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111" name="TextBox 16">
              <a:extLst>
                <a:ext uri="{FF2B5EF4-FFF2-40B4-BE49-F238E27FC236}">
                  <a16:creationId xmlns:a16="http://schemas.microsoft.com/office/drawing/2014/main" id="{22F8C153-88C7-4248-A5F6-2DF5DDAF67FA}"/>
                </a:ext>
              </a:extLst>
            </p:cNvPr>
            <p:cNvSpPr txBox="1"/>
            <p:nvPr/>
          </p:nvSpPr>
          <p:spPr>
            <a:xfrm>
              <a:off x="4732834" y="2160669"/>
              <a:ext cx="1899121" cy="400110"/>
            </a:xfrm>
            <a:prstGeom prst="rect">
              <a:avLst/>
            </a:prstGeom>
            <a:noFill/>
          </p:spPr>
          <p:txBody>
            <a:bodyPr wrap="square" rtlCol="0">
              <a:spAutoFit/>
            </a:bodyPr>
            <a:lstStyle>
              <a:defPPr>
                <a:defRPr lang="pt-PT"/>
              </a:defPPr>
              <a:lvl1pPr>
                <a:defRPr sz="2000" b="1">
                  <a:solidFill>
                    <a:schemeClr val="bg2">
                      <a:lumMod val="50000"/>
                    </a:schemeClr>
                  </a:solidFill>
                  <a:latin typeface="Tw Cen MT" panose="020B0602020104020603" pitchFamily="34" charset="0"/>
                </a:defRPr>
              </a:lvl1pPr>
            </a:lstStyle>
            <a:p>
              <a:r>
                <a:rPr lang="en-US" dirty="0"/>
                <a:t>Valeur Métier</a:t>
              </a:r>
            </a:p>
          </p:txBody>
        </p:sp>
      </p:grpSp>
      <p:grpSp>
        <p:nvGrpSpPr>
          <p:cNvPr id="125" name="Groupe 124">
            <a:extLst>
              <a:ext uri="{FF2B5EF4-FFF2-40B4-BE49-F238E27FC236}">
                <a16:creationId xmlns:a16="http://schemas.microsoft.com/office/drawing/2014/main" id="{036C76B9-9925-48D6-84B3-08610320775C}"/>
              </a:ext>
            </a:extLst>
          </p:cNvPr>
          <p:cNvGrpSpPr/>
          <p:nvPr/>
        </p:nvGrpSpPr>
        <p:grpSpPr>
          <a:xfrm>
            <a:off x="4488122" y="4765430"/>
            <a:ext cx="2869912" cy="1044792"/>
            <a:chOff x="4515539" y="4267242"/>
            <a:chExt cx="2869912" cy="1044792"/>
          </a:xfrm>
        </p:grpSpPr>
        <p:sp>
          <p:nvSpPr>
            <p:cNvPr id="101" name="Rectangle 100">
              <a:extLst>
                <a:ext uri="{FF2B5EF4-FFF2-40B4-BE49-F238E27FC236}">
                  <a16:creationId xmlns:a16="http://schemas.microsoft.com/office/drawing/2014/main" id="{2281C8FE-448E-4E69-8CA0-913C3B37A835}"/>
                </a:ext>
              </a:extLst>
            </p:cNvPr>
            <p:cNvSpPr/>
            <p:nvPr/>
          </p:nvSpPr>
          <p:spPr>
            <a:xfrm>
              <a:off x="5001758" y="4573370"/>
              <a:ext cx="2383693" cy="738664"/>
            </a:xfrm>
            <a:prstGeom prst="rect">
              <a:avLst/>
            </a:prstGeom>
          </p:spPr>
          <p:txBody>
            <a:bodyPr wrap="square">
              <a:spAutoFit/>
            </a:bodyPr>
            <a:lstStyle/>
            <a:p>
              <a:r>
                <a:rPr lang="fr-FR" sz="1400" b="1" dirty="0">
                  <a:solidFill>
                    <a:schemeClr val="bg2">
                      <a:lumMod val="75000"/>
                    </a:schemeClr>
                  </a:solidFill>
                </a:rPr>
                <a:t>Le temps moyen de remise en service des applications</a:t>
              </a:r>
            </a:p>
          </p:txBody>
        </p:sp>
        <p:grpSp>
          <p:nvGrpSpPr>
            <p:cNvPr id="118" name="Groupe 117">
              <a:extLst>
                <a:ext uri="{FF2B5EF4-FFF2-40B4-BE49-F238E27FC236}">
                  <a16:creationId xmlns:a16="http://schemas.microsoft.com/office/drawing/2014/main" id="{93A92E61-A344-4718-8C54-6657D43C378F}"/>
                </a:ext>
              </a:extLst>
            </p:cNvPr>
            <p:cNvGrpSpPr/>
            <p:nvPr/>
          </p:nvGrpSpPr>
          <p:grpSpPr>
            <a:xfrm>
              <a:off x="4515539" y="4267242"/>
              <a:ext cx="1558442" cy="520606"/>
              <a:chOff x="2558164" y="3499031"/>
              <a:chExt cx="1558442" cy="520606"/>
            </a:xfrm>
          </p:grpSpPr>
          <p:grpSp>
            <p:nvGrpSpPr>
              <p:cNvPr id="119" name="Group 580">
                <a:extLst>
                  <a:ext uri="{FF2B5EF4-FFF2-40B4-BE49-F238E27FC236}">
                    <a16:creationId xmlns:a16="http://schemas.microsoft.com/office/drawing/2014/main" id="{F6BA9A13-B02E-4F55-B09B-924F175F02DF}"/>
                  </a:ext>
                </a:extLst>
              </p:cNvPr>
              <p:cNvGrpSpPr/>
              <p:nvPr/>
            </p:nvGrpSpPr>
            <p:grpSpPr>
              <a:xfrm>
                <a:off x="2558164" y="3518470"/>
                <a:ext cx="524662" cy="501167"/>
                <a:chOff x="3956051" y="2425587"/>
                <a:chExt cx="842963" cy="793750"/>
              </a:xfrm>
            </p:grpSpPr>
            <p:sp>
              <p:nvSpPr>
                <p:cNvPr id="122" name="Freeform 51">
                  <a:extLst>
                    <a:ext uri="{FF2B5EF4-FFF2-40B4-BE49-F238E27FC236}">
                      <a16:creationId xmlns:a16="http://schemas.microsoft.com/office/drawing/2014/main" id="{257464A6-F161-44EA-8CC7-D5BA0D137947}"/>
                    </a:ext>
                  </a:extLst>
                </p:cNvPr>
                <p:cNvSpPr>
                  <a:spLocks/>
                </p:cNvSpPr>
                <p:nvPr/>
              </p:nvSpPr>
              <p:spPr bwMode="auto">
                <a:xfrm>
                  <a:off x="3956051" y="2425587"/>
                  <a:ext cx="842963" cy="793750"/>
                </a:xfrm>
                <a:custGeom>
                  <a:avLst/>
                  <a:gdLst>
                    <a:gd name="T0" fmla="*/ 51 w 440"/>
                    <a:gd name="T1" fmla="*/ 298 h 410"/>
                    <a:gd name="T2" fmla="*/ 127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7" y="48"/>
                      </a:cubicBezTo>
                      <a:cubicBezTo>
                        <a:pt x="221" y="0"/>
                        <a:pt x="338" y="33"/>
                        <a:pt x="389" y="122"/>
                      </a:cubicBezTo>
                      <a:cubicBezTo>
                        <a:pt x="440" y="212"/>
                        <a:pt x="400" y="313"/>
                        <a:pt x="307" y="362"/>
                      </a:cubicBezTo>
                      <a:cubicBezTo>
                        <a:pt x="213" y="410"/>
                        <a:pt x="102" y="388"/>
                        <a:pt x="51" y="298"/>
                      </a:cubicBezTo>
                    </a:path>
                  </a:pathLst>
                </a:custGeom>
                <a:solidFill>
                  <a:srgbClr val="00B0F0"/>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123" name="Freeform 52">
                  <a:extLst>
                    <a:ext uri="{FF2B5EF4-FFF2-40B4-BE49-F238E27FC236}">
                      <a16:creationId xmlns:a16="http://schemas.microsoft.com/office/drawing/2014/main" id="{B11735B4-1329-45F4-927C-D16443658D74}"/>
                    </a:ext>
                  </a:extLst>
                </p:cNvPr>
                <p:cNvSpPr>
                  <a:spLocks/>
                </p:cNvSpPr>
                <p:nvPr/>
              </p:nvSpPr>
              <p:spPr bwMode="auto">
                <a:xfrm>
                  <a:off x="4184651" y="2654187"/>
                  <a:ext cx="404813" cy="347663"/>
                </a:xfrm>
                <a:custGeom>
                  <a:avLst/>
                  <a:gdLst>
                    <a:gd name="T0" fmla="*/ 199 w 211"/>
                    <a:gd name="T1" fmla="*/ 146 h 180"/>
                    <a:gd name="T2" fmla="*/ 30 w 211"/>
                    <a:gd name="T3" fmla="*/ 152 h 180"/>
                    <a:gd name="T4" fmla="*/ 26 w 211"/>
                    <a:gd name="T5" fmla="*/ 13 h 180"/>
                    <a:gd name="T6" fmla="*/ 0 w 211"/>
                    <a:gd name="T7" fmla="*/ 12 h 180"/>
                    <a:gd name="T8" fmla="*/ 5 w 211"/>
                    <a:gd name="T9" fmla="*/ 171 h 180"/>
                    <a:gd name="T10" fmla="*/ 6 w 211"/>
                    <a:gd name="T11" fmla="*/ 171 h 180"/>
                    <a:gd name="T12" fmla="*/ 5 w 211"/>
                    <a:gd name="T13" fmla="*/ 174 h 180"/>
                    <a:gd name="T14" fmla="*/ 197 w 211"/>
                    <a:gd name="T15" fmla="*/ 172 h 180"/>
                    <a:gd name="T16" fmla="*/ 199 w 211"/>
                    <a:gd name="T17" fmla="*/ 14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80">
                      <a:moveTo>
                        <a:pt x="199" y="146"/>
                      </a:moveTo>
                      <a:cubicBezTo>
                        <a:pt x="193" y="155"/>
                        <a:pt x="61" y="154"/>
                        <a:pt x="30" y="152"/>
                      </a:cubicBezTo>
                      <a:cubicBezTo>
                        <a:pt x="31" y="126"/>
                        <a:pt x="33" y="22"/>
                        <a:pt x="26" y="13"/>
                      </a:cubicBezTo>
                      <a:cubicBezTo>
                        <a:pt x="18" y="0"/>
                        <a:pt x="0" y="12"/>
                        <a:pt x="0" y="12"/>
                      </a:cubicBezTo>
                      <a:cubicBezTo>
                        <a:pt x="13" y="20"/>
                        <a:pt x="5" y="171"/>
                        <a:pt x="5" y="171"/>
                      </a:cubicBezTo>
                      <a:cubicBezTo>
                        <a:pt x="6" y="171"/>
                        <a:pt x="6" y="171"/>
                        <a:pt x="6" y="171"/>
                      </a:cubicBezTo>
                      <a:cubicBezTo>
                        <a:pt x="5" y="174"/>
                        <a:pt x="5" y="174"/>
                        <a:pt x="5" y="174"/>
                      </a:cubicBezTo>
                      <a:cubicBezTo>
                        <a:pt x="5" y="174"/>
                        <a:pt x="184" y="180"/>
                        <a:pt x="197" y="172"/>
                      </a:cubicBezTo>
                      <a:cubicBezTo>
                        <a:pt x="211" y="164"/>
                        <a:pt x="199" y="146"/>
                        <a:pt x="199" y="14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53">
                  <a:extLst>
                    <a:ext uri="{FF2B5EF4-FFF2-40B4-BE49-F238E27FC236}">
                      <a16:creationId xmlns:a16="http://schemas.microsoft.com/office/drawing/2014/main" id="{FD356994-87E1-4ACA-AB75-342C332780BA}"/>
                    </a:ext>
                  </a:extLst>
                </p:cNvPr>
                <p:cNvSpPr>
                  <a:spLocks/>
                </p:cNvSpPr>
                <p:nvPr/>
              </p:nvSpPr>
              <p:spPr bwMode="auto">
                <a:xfrm>
                  <a:off x="4281489" y="2689112"/>
                  <a:ext cx="307975" cy="212725"/>
                </a:xfrm>
                <a:custGeom>
                  <a:avLst/>
                  <a:gdLst>
                    <a:gd name="T0" fmla="*/ 102 w 160"/>
                    <a:gd name="T1" fmla="*/ 4 h 110"/>
                    <a:gd name="T2" fmla="*/ 103 w 160"/>
                    <a:gd name="T3" fmla="*/ 4 h 110"/>
                    <a:gd name="T4" fmla="*/ 159 w 160"/>
                    <a:gd name="T5" fmla="*/ 0 h 110"/>
                    <a:gd name="T6" fmla="*/ 160 w 160"/>
                    <a:gd name="T7" fmla="*/ 0 h 110"/>
                    <a:gd name="T8" fmla="*/ 150 w 160"/>
                    <a:gd name="T9" fmla="*/ 56 h 110"/>
                    <a:gd name="T10" fmla="*/ 134 w 160"/>
                    <a:gd name="T11" fmla="*/ 39 h 110"/>
                    <a:gd name="T12" fmla="*/ 84 w 160"/>
                    <a:gd name="T13" fmla="*/ 84 h 110"/>
                    <a:gd name="T14" fmla="*/ 74 w 160"/>
                    <a:gd name="T15" fmla="*/ 77 h 110"/>
                    <a:gd name="T16" fmla="*/ 64 w 160"/>
                    <a:gd name="T17" fmla="*/ 70 h 110"/>
                    <a:gd name="T18" fmla="*/ 15 w 160"/>
                    <a:gd name="T19" fmla="*/ 110 h 110"/>
                    <a:gd name="T20" fmla="*/ 0 w 160"/>
                    <a:gd name="T21" fmla="*/ 91 h 110"/>
                    <a:gd name="T22" fmla="*/ 0 w 160"/>
                    <a:gd name="T23" fmla="*/ 91 h 110"/>
                    <a:gd name="T24" fmla="*/ 62 w 160"/>
                    <a:gd name="T25" fmla="*/ 41 h 110"/>
                    <a:gd name="T26" fmla="*/ 73 w 160"/>
                    <a:gd name="T27" fmla="*/ 46 h 110"/>
                    <a:gd name="T28" fmla="*/ 83 w 160"/>
                    <a:gd name="T29" fmla="*/ 53 h 110"/>
                    <a:gd name="T30" fmla="*/ 118 w 160"/>
                    <a:gd name="T31" fmla="*/ 21 h 110"/>
                    <a:gd name="T32" fmla="*/ 102 w 160"/>
                    <a:gd name="T3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110">
                      <a:moveTo>
                        <a:pt x="102" y="4"/>
                      </a:moveTo>
                      <a:cubicBezTo>
                        <a:pt x="102" y="4"/>
                        <a:pt x="103" y="4"/>
                        <a:pt x="103" y="4"/>
                      </a:cubicBezTo>
                      <a:cubicBezTo>
                        <a:pt x="121" y="3"/>
                        <a:pt x="141" y="1"/>
                        <a:pt x="159" y="0"/>
                      </a:cubicBezTo>
                      <a:cubicBezTo>
                        <a:pt x="159" y="0"/>
                        <a:pt x="160" y="0"/>
                        <a:pt x="160" y="0"/>
                      </a:cubicBezTo>
                      <a:cubicBezTo>
                        <a:pt x="159" y="18"/>
                        <a:pt x="158" y="36"/>
                        <a:pt x="150" y="56"/>
                      </a:cubicBezTo>
                      <a:cubicBezTo>
                        <a:pt x="145" y="51"/>
                        <a:pt x="139" y="47"/>
                        <a:pt x="134" y="39"/>
                      </a:cubicBezTo>
                      <a:cubicBezTo>
                        <a:pt x="118" y="54"/>
                        <a:pt x="101" y="69"/>
                        <a:pt x="84" y="84"/>
                      </a:cubicBezTo>
                      <a:cubicBezTo>
                        <a:pt x="81" y="82"/>
                        <a:pt x="78" y="80"/>
                        <a:pt x="74" y="77"/>
                      </a:cubicBezTo>
                      <a:cubicBezTo>
                        <a:pt x="71" y="75"/>
                        <a:pt x="67" y="72"/>
                        <a:pt x="64" y="70"/>
                      </a:cubicBezTo>
                      <a:cubicBezTo>
                        <a:pt x="48" y="84"/>
                        <a:pt x="31" y="97"/>
                        <a:pt x="15" y="110"/>
                      </a:cubicBezTo>
                      <a:cubicBezTo>
                        <a:pt x="12" y="103"/>
                        <a:pt x="1" y="100"/>
                        <a:pt x="0" y="91"/>
                      </a:cubicBezTo>
                      <a:cubicBezTo>
                        <a:pt x="0" y="91"/>
                        <a:pt x="0" y="91"/>
                        <a:pt x="0" y="91"/>
                      </a:cubicBezTo>
                      <a:cubicBezTo>
                        <a:pt x="21" y="74"/>
                        <a:pt x="41" y="58"/>
                        <a:pt x="62" y="41"/>
                      </a:cubicBezTo>
                      <a:cubicBezTo>
                        <a:pt x="66" y="40"/>
                        <a:pt x="68" y="43"/>
                        <a:pt x="73" y="46"/>
                      </a:cubicBezTo>
                      <a:cubicBezTo>
                        <a:pt x="76" y="49"/>
                        <a:pt x="79" y="52"/>
                        <a:pt x="83" y="53"/>
                      </a:cubicBezTo>
                      <a:cubicBezTo>
                        <a:pt x="94" y="43"/>
                        <a:pt x="106" y="32"/>
                        <a:pt x="118" y="21"/>
                      </a:cubicBezTo>
                      <a:cubicBezTo>
                        <a:pt x="110" y="17"/>
                        <a:pt x="107" y="10"/>
                        <a:pt x="10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21" name="ZoneTexte 120">
                <a:extLst>
                  <a:ext uri="{FF2B5EF4-FFF2-40B4-BE49-F238E27FC236}">
                    <a16:creationId xmlns:a16="http://schemas.microsoft.com/office/drawing/2014/main" id="{02B632B7-1500-4AD5-9E46-0983871F04D0}"/>
                  </a:ext>
                </a:extLst>
              </p:cNvPr>
              <p:cNvSpPr txBox="1"/>
              <p:nvPr/>
            </p:nvSpPr>
            <p:spPr>
              <a:xfrm>
                <a:off x="3045879" y="3499031"/>
                <a:ext cx="1070727" cy="369332"/>
              </a:xfrm>
              <a:prstGeom prst="rect">
                <a:avLst/>
              </a:prstGeom>
              <a:noFill/>
            </p:spPr>
            <p:txBody>
              <a:bodyPr wrap="square" rtlCol="0">
                <a:spAutoFit/>
              </a:bodyPr>
              <a:lstStyle/>
              <a:p>
                <a:r>
                  <a:rPr lang="fr-FR" b="1" dirty="0">
                    <a:solidFill>
                      <a:srgbClr val="00B0F0"/>
                    </a:solidFill>
                    <a:effectLst>
                      <a:outerShdw blurRad="38100" dist="38100" dir="2700000" algn="tl">
                        <a:srgbClr val="000000">
                          <a:alpha val="43137"/>
                        </a:srgbClr>
                      </a:outerShdw>
                    </a:effectLst>
                  </a:rPr>
                  <a:t>96 fois</a:t>
                </a:r>
              </a:p>
            </p:txBody>
          </p:sp>
        </p:grpSp>
      </p:grpSp>
      <p:pic>
        <p:nvPicPr>
          <p:cNvPr id="180" name="Image 179">
            <a:extLst>
              <a:ext uri="{FF2B5EF4-FFF2-40B4-BE49-F238E27FC236}">
                <a16:creationId xmlns:a16="http://schemas.microsoft.com/office/drawing/2014/main" id="{AB93036D-AA5F-4F96-AC56-E538257D0195}"/>
              </a:ext>
            </a:extLst>
          </p:cNvPr>
          <p:cNvPicPr>
            <a:picLocks noChangeAspect="1"/>
          </p:cNvPicPr>
          <p:nvPr/>
        </p:nvPicPr>
        <p:blipFill>
          <a:blip r:embed="rId3"/>
          <a:stretch>
            <a:fillRect/>
          </a:stretch>
        </p:blipFill>
        <p:spPr>
          <a:xfrm>
            <a:off x="2639629" y="2650098"/>
            <a:ext cx="6089867" cy="2939283"/>
          </a:xfrm>
          <a:prstGeom prst="rect">
            <a:avLst/>
          </a:prstGeom>
        </p:spPr>
      </p:pic>
      <p:pic>
        <p:nvPicPr>
          <p:cNvPr id="81" name="Image 80" descr="Une image contenant mètre, horloge&#10;&#10;Description générée automatiquement">
            <a:extLst>
              <a:ext uri="{FF2B5EF4-FFF2-40B4-BE49-F238E27FC236}">
                <a16:creationId xmlns:a16="http://schemas.microsoft.com/office/drawing/2014/main" id="{014A3B5D-809F-47BA-97EC-B3D28A8AB2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69808" y="2915567"/>
            <a:ext cx="4242689" cy="2184668"/>
          </a:xfrm>
          <a:prstGeom prst="rect">
            <a:avLst/>
          </a:prstGeom>
          <a:effectLst>
            <a:outerShdw blurRad="50800" dist="38100" dir="2700000" algn="tl" rotWithShape="0">
              <a:prstClr val="black">
                <a:alpha val="40000"/>
              </a:prstClr>
            </a:outerShdw>
          </a:effectLst>
        </p:spPr>
      </p:pic>
      <p:grpSp>
        <p:nvGrpSpPr>
          <p:cNvPr id="183" name="Groupe 182">
            <a:extLst>
              <a:ext uri="{FF2B5EF4-FFF2-40B4-BE49-F238E27FC236}">
                <a16:creationId xmlns:a16="http://schemas.microsoft.com/office/drawing/2014/main" id="{994C4191-9C5A-4370-8905-509120BC8056}"/>
              </a:ext>
            </a:extLst>
          </p:cNvPr>
          <p:cNvGrpSpPr/>
          <p:nvPr/>
        </p:nvGrpSpPr>
        <p:grpSpPr>
          <a:xfrm>
            <a:off x="4053168" y="2957615"/>
            <a:ext cx="2625513" cy="2324250"/>
            <a:chOff x="7806769" y="3150602"/>
            <a:chExt cx="3140360" cy="2942992"/>
          </a:xfrm>
        </p:grpSpPr>
        <p:pic>
          <p:nvPicPr>
            <p:cNvPr id="181" name="Image 180">
              <a:extLst>
                <a:ext uri="{FF2B5EF4-FFF2-40B4-BE49-F238E27FC236}">
                  <a16:creationId xmlns:a16="http://schemas.microsoft.com/office/drawing/2014/main" id="{65A02A94-B594-4344-B6D5-3C231E046D64}"/>
                </a:ext>
              </a:extLst>
            </p:cNvPr>
            <p:cNvPicPr>
              <a:picLocks noChangeAspect="1"/>
            </p:cNvPicPr>
            <p:nvPr/>
          </p:nvPicPr>
          <p:blipFill rotWithShape="1">
            <a:blip r:embed="rId5"/>
            <a:srcRect l="7384" t="3131" r="2641" b="10474"/>
            <a:stretch/>
          </p:blipFill>
          <p:spPr>
            <a:xfrm>
              <a:off x="7806769" y="3150602"/>
              <a:ext cx="3140360" cy="2942992"/>
            </a:xfrm>
            <a:prstGeom prst="ellipse">
              <a:avLst/>
            </a:prstGeom>
          </p:spPr>
        </p:pic>
        <p:sp>
          <p:nvSpPr>
            <p:cNvPr id="182" name="Rectangle 181">
              <a:extLst>
                <a:ext uri="{FF2B5EF4-FFF2-40B4-BE49-F238E27FC236}">
                  <a16:creationId xmlns:a16="http://schemas.microsoft.com/office/drawing/2014/main" id="{D09F4A1B-3794-4403-BD7C-50228DDAC3A1}"/>
                </a:ext>
              </a:extLst>
            </p:cNvPr>
            <p:cNvSpPr/>
            <p:nvPr/>
          </p:nvSpPr>
          <p:spPr>
            <a:xfrm>
              <a:off x="10287075" y="3219231"/>
              <a:ext cx="622666" cy="4024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242" name="Groupe 241">
            <a:extLst>
              <a:ext uri="{FF2B5EF4-FFF2-40B4-BE49-F238E27FC236}">
                <a16:creationId xmlns:a16="http://schemas.microsoft.com/office/drawing/2014/main" id="{44356F66-5672-40D1-865E-583E718E9DB5}"/>
              </a:ext>
            </a:extLst>
          </p:cNvPr>
          <p:cNvGrpSpPr/>
          <p:nvPr/>
        </p:nvGrpSpPr>
        <p:grpSpPr>
          <a:xfrm>
            <a:off x="9025296" y="3389087"/>
            <a:ext cx="2215012" cy="584926"/>
            <a:chOff x="9025296" y="3389087"/>
            <a:chExt cx="2215012" cy="584926"/>
          </a:xfrm>
        </p:grpSpPr>
        <p:sp>
          <p:nvSpPr>
            <p:cNvPr id="185" name="Rectangle 184">
              <a:extLst>
                <a:ext uri="{FF2B5EF4-FFF2-40B4-BE49-F238E27FC236}">
                  <a16:creationId xmlns:a16="http://schemas.microsoft.com/office/drawing/2014/main" id="{2D2EE23B-49E4-4694-BC23-15275F3EF5BB}"/>
                </a:ext>
              </a:extLst>
            </p:cNvPr>
            <p:cNvSpPr/>
            <p:nvPr/>
          </p:nvSpPr>
          <p:spPr>
            <a:xfrm>
              <a:off x="9612939" y="3571654"/>
              <a:ext cx="1627369" cy="307777"/>
            </a:xfrm>
            <a:prstGeom prst="rect">
              <a:avLst/>
            </a:prstGeom>
          </p:spPr>
          <p:txBody>
            <a:bodyPr wrap="none">
              <a:spAutoFit/>
            </a:bodyPr>
            <a:lstStyle/>
            <a:p>
              <a:r>
                <a:rPr lang="fr-FR" sz="1400" b="1" dirty="0">
                  <a:solidFill>
                    <a:schemeClr val="bg2">
                      <a:lumMod val="50000"/>
                    </a:schemeClr>
                  </a:solidFill>
                </a:rPr>
                <a:t>Gain de temps</a:t>
              </a:r>
            </a:p>
          </p:txBody>
        </p:sp>
        <p:grpSp>
          <p:nvGrpSpPr>
            <p:cNvPr id="203" name="Groupe 202">
              <a:extLst>
                <a:ext uri="{FF2B5EF4-FFF2-40B4-BE49-F238E27FC236}">
                  <a16:creationId xmlns:a16="http://schemas.microsoft.com/office/drawing/2014/main" id="{1B66EE8F-1C3A-4CB7-9FC6-D3B57BA3A624}"/>
                </a:ext>
              </a:extLst>
            </p:cNvPr>
            <p:cNvGrpSpPr>
              <a:grpSpLocks noChangeAspect="1"/>
            </p:cNvGrpSpPr>
            <p:nvPr/>
          </p:nvGrpSpPr>
          <p:grpSpPr>
            <a:xfrm>
              <a:off x="9025296" y="3389087"/>
              <a:ext cx="624308" cy="584926"/>
              <a:chOff x="7634288" y="2700338"/>
              <a:chExt cx="855663" cy="801687"/>
            </a:xfrm>
          </p:grpSpPr>
          <p:sp>
            <p:nvSpPr>
              <p:cNvPr id="204" name="Freeform 169">
                <a:extLst>
                  <a:ext uri="{FF2B5EF4-FFF2-40B4-BE49-F238E27FC236}">
                    <a16:creationId xmlns:a16="http://schemas.microsoft.com/office/drawing/2014/main" id="{0FBE016E-3245-4CA7-B69D-42F0CB9D5921}"/>
                  </a:ext>
                </a:extLst>
              </p:cNvPr>
              <p:cNvSpPr>
                <a:spLocks/>
              </p:cNvSpPr>
              <p:nvPr/>
            </p:nvSpPr>
            <p:spPr bwMode="auto">
              <a:xfrm>
                <a:off x="7634288" y="2700338"/>
                <a:ext cx="855663" cy="801687"/>
              </a:xfrm>
              <a:custGeom>
                <a:avLst/>
                <a:gdLst>
                  <a:gd name="T0" fmla="*/ 30 w 253"/>
                  <a:gd name="T1" fmla="*/ 171 h 236"/>
                  <a:gd name="T2" fmla="*/ 74 w 253"/>
                  <a:gd name="T3" fmla="*/ 28 h 236"/>
                  <a:gd name="T4" fmla="*/ 224 w 253"/>
                  <a:gd name="T5" fmla="*/ 71 h 236"/>
                  <a:gd name="T6" fmla="*/ 176 w 253"/>
                  <a:gd name="T7" fmla="*/ 208 h 236"/>
                  <a:gd name="T8" fmla="*/ 30 w 253"/>
                  <a:gd name="T9" fmla="*/ 171 h 236"/>
                </a:gdLst>
                <a:ahLst/>
                <a:cxnLst>
                  <a:cxn ang="0">
                    <a:pos x="T0" y="T1"/>
                  </a:cxn>
                  <a:cxn ang="0">
                    <a:pos x="T2" y="T3"/>
                  </a:cxn>
                  <a:cxn ang="0">
                    <a:pos x="T4" y="T5"/>
                  </a:cxn>
                  <a:cxn ang="0">
                    <a:pos x="T6" y="T7"/>
                  </a:cxn>
                  <a:cxn ang="0">
                    <a:pos x="T8" y="T9"/>
                  </a:cxn>
                </a:cxnLst>
                <a:rect l="0" t="0" r="r" b="b"/>
                <a:pathLst>
                  <a:path w="253" h="236">
                    <a:moveTo>
                      <a:pt x="30" y="171"/>
                    </a:moveTo>
                    <a:cubicBezTo>
                      <a:pt x="0" y="120"/>
                      <a:pt x="20" y="56"/>
                      <a:pt x="74" y="28"/>
                    </a:cubicBezTo>
                    <a:cubicBezTo>
                      <a:pt x="127" y="0"/>
                      <a:pt x="194" y="19"/>
                      <a:pt x="224" y="71"/>
                    </a:cubicBezTo>
                    <a:cubicBezTo>
                      <a:pt x="253" y="122"/>
                      <a:pt x="230" y="180"/>
                      <a:pt x="176" y="208"/>
                    </a:cubicBezTo>
                    <a:cubicBezTo>
                      <a:pt x="123" y="236"/>
                      <a:pt x="59" y="223"/>
                      <a:pt x="30" y="171"/>
                    </a:cubicBezTo>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05" name="Groupe 204">
                <a:extLst>
                  <a:ext uri="{FF2B5EF4-FFF2-40B4-BE49-F238E27FC236}">
                    <a16:creationId xmlns:a16="http://schemas.microsoft.com/office/drawing/2014/main" id="{AE54E7F7-21C0-4042-82B8-5A5F0932E7D1}"/>
                  </a:ext>
                </a:extLst>
              </p:cNvPr>
              <p:cNvGrpSpPr/>
              <p:nvPr/>
            </p:nvGrpSpPr>
            <p:grpSpPr>
              <a:xfrm>
                <a:off x="7813675" y="2846388"/>
                <a:ext cx="500063" cy="503237"/>
                <a:chOff x="7813675" y="2846388"/>
                <a:chExt cx="500063" cy="503237"/>
              </a:xfrm>
            </p:grpSpPr>
            <p:sp>
              <p:nvSpPr>
                <p:cNvPr id="206" name="Freeform 170">
                  <a:extLst>
                    <a:ext uri="{FF2B5EF4-FFF2-40B4-BE49-F238E27FC236}">
                      <a16:creationId xmlns:a16="http://schemas.microsoft.com/office/drawing/2014/main" id="{BDC0D2E6-235B-4605-B45C-354DB377B880}"/>
                    </a:ext>
                  </a:extLst>
                </p:cNvPr>
                <p:cNvSpPr>
                  <a:spLocks/>
                </p:cNvSpPr>
                <p:nvPr/>
              </p:nvSpPr>
              <p:spPr bwMode="auto">
                <a:xfrm>
                  <a:off x="7813675" y="2846388"/>
                  <a:ext cx="500063" cy="503237"/>
                </a:xfrm>
                <a:custGeom>
                  <a:avLst/>
                  <a:gdLst>
                    <a:gd name="T0" fmla="*/ 9 w 148"/>
                    <a:gd name="T1" fmla="*/ 59 h 148"/>
                    <a:gd name="T2" fmla="*/ 89 w 148"/>
                    <a:gd name="T3" fmla="*/ 9 h 148"/>
                    <a:gd name="T4" fmla="*/ 139 w 148"/>
                    <a:gd name="T5" fmla="*/ 89 h 148"/>
                    <a:gd name="T6" fmla="*/ 59 w 148"/>
                    <a:gd name="T7" fmla="*/ 139 h 148"/>
                    <a:gd name="T8" fmla="*/ 9 w 148"/>
                    <a:gd name="T9" fmla="*/ 59 h 148"/>
                  </a:gdLst>
                  <a:ahLst/>
                  <a:cxnLst>
                    <a:cxn ang="0">
                      <a:pos x="T0" y="T1"/>
                    </a:cxn>
                    <a:cxn ang="0">
                      <a:pos x="T2" y="T3"/>
                    </a:cxn>
                    <a:cxn ang="0">
                      <a:pos x="T4" y="T5"/>
                    </a:cxn>
                    <a:cxn ang="0">
                      <a:pos x="T6" y="T7"/>
                    </a:cxn>
                    <a:cxn ang="0">
                      <a:pos x="T8" y="T9"/>
                    </a:cxn>
                  </a:cxnLst>
                  <a:rect l="0" t="0" r="r" b="b"/>
                  <a:pathLst>
                    <a:path w="148" h="148">
                      <a:moveTo>
                        <a:pt x="9" y="59"/>
                      </a:moveTo>
                      <a:cubicBezTo>
                        <a:pt x="17" y="23"/>
                        <a:pt x="53" y="0"/>
                        <a:pt x="89" y="9"/>
                      </a:cubicBezTo>
                      <a:cubicBezTo>
                        <a:pt x="125" y="17"/>
                        <a:pt x="148" y="53"/>
                        <a:pt x="139" y="89"/>
                      </a:cubicBezTo>
                      <a:cubicBezTo>
                        <a:pt x="131" y="125"/>
                        <a:pt x="95" y="148"/>
                        <a:pt x="59" y="139"/>
                      </a:cubicBezTo>
                      <a:cubicBezTo>
                        <a:pt x="23" y="131"/>
                        <a:pt x="0" y="95"/>
                        <a:pt x="9" y="59"/>
                      </a:cubicBezTo>
                      <a:close/>
                    </a:path>
                  </a:pathLst>
                </a:custGeom>
                <a:solidFill>
                  <a:srgbClr val="FFFFFF"/>
                </a:solidFill>
                <a:ln w="28575">
                  <a:solidFill>
                    <a:schemeClr val="accent5"/>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72">
                  <a:extLst>
                    <a:ext uri="{FF2B5EF4-FFF2-40B4-BE49-F238E27FC236}">
                      <a16:creationId xmlns:a16="http://schemas.microsoft.com/office/drawing/2014/main" id="{0C97CF5B-958E-4B21-92DC-52666D05B2B3}"/>
                    </a:ext>
                  </a:extLst>
                </p:cNvPr>
                <p:cNvSpPr>
                  <a:spLocks/>
                </p:cNvSpPr>
                <p:nvPr/>
              </p:nvSpPr>
              <p:spPr bwMode="auto">
                <a:xfrm>
                  <a:off x="8040688" y="2927350"/>
                  <a:ext cx="30163" cy="47625"/>
                </a:xfrm>
                <a:custGeom>
                  <a:avLst/>
                  <a:gdLst>
                    <a:gd name="T0" fmla="*/ 5 w 9"/>
                    <a:gd name="T1" fmla="*/ 0 h 14"/>
                    <a:gd name="T2" fmla="*/ 1 w 9"/>
                    <a:gd name="T3" fmla="*/ 1 h 14"/>
                    <a:gd name="T4" fmla="*/ 3 w 9"/>
                    <a:gd name="T5" fmla="*/ 14 h 14"/>
                    <a:gd name="T6" fmla="*/ 7 w 9"/>
                    <a:gd name="T7" fmla="*/ 1 h 14"/>
                    <a:gd name="T8" fmla="*/ 5 w 9"/>
                    <a:gd name="T9" fmla="*/ 0 h 14"/>
                  </a:gdLst>
                  <a:ahLst/>
                  <a:cxnLst>
                    <a:cxn ang="0">
                      <a:pos x="T0" y="T1"/>
                    </a:cxn>
                    <a:cxn ang="0">
                      <a:pos x="T2" y="T3"/>
                    </a:cxn>
                    <a:cxn ang="0">
                      <a:pos x="T4" y="T5"/>
                    </a:cxn>
                    <a:cxn ang="0">
                      <a:pos x="T6" y="T7"/>
                    </a:cxn>
                    <a:cxn ang="0">
                      <a:pos x="T8" y="T9"/>
                    </a:cxn>
                  </a:cxnLst>
                  <a:rect l="0" t="0" r="r" b="b"/>
                  <a:pathLst>
                    <a:path w="9" h="14">
                      <a:moveTo>
                        <a:pt x="5" y="0"/>
                      </a:moveTo>
                      <a:cubicBezTo>
                        <a:pt x="3" y="0"/>
                        <a:pt x="3" y="1"/>
                        <a:pt x="1" y="1"/>
                      </a:cubicBezTo>
                      <a:cubicBezTo>
                        <a:pt x="2" y="5"/>
                        <a:pt x="0" y="11"/>
                        <a:pt x="3" y="14"/>
                      </a:cubicBezTo>
                      <a:cubicBezTo>
                        <a:pt x="9" y="14"/>
                        <a:pt x="6" y="6"/>
                        <a:pt x="7" y="1"/>
                      </a:cubicBezTo>
                      <a:cubicBezTo>
                        <a:pt x="6" y="1"/>
                        <a:pt x="5" y="0"/>
                        <a:pt x="5" y="0"/>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73">
                  <a:extLst>
                    <a:ext uri="{FF2B5EF4-FFF2-40B4-BE49-F238E27FC236}">
                      <a16:creationId xmlns:a16="http://schemas.microsoft.com/office/drawing/2014/main" id="{8D88F6A4-9618-454E-8319-7C39812C6E7C}"/>
                    </a:ext>
                  </a:extLst>
                </p:cNvPr>
                <p:cNvSpPr>
                  <a:spLocks/>
                </p:cNvSpPr>
                <p:nvPr/>
              </p:nvSpPr>
              <p:spPr bwMode="auto">
                <a:xfrm>
                  <a:off x="8107363" y="2947988"/>
                  <a:ext cx="44450" cy="41275"/>
                </a:xfrm>
                <a:custGeom>
                  <a:avLst/>
                  <a:gdLst>
                    <a:gd name="T0" fmla="*/ 10 w 13"/>
                    <a:gd name="T1" fmla="*/ 0 h 12"/>
                    <a:gd name="T2" fmla="*/ 2 w 13"/>
                    <a:gd name="T3" fmla="*/ 12 h 12"/>
                    <a:gd name="T4" fmla="*/ 10 w 13"/>
                    <a:gd name="T5" fmla="*/ 0 h 12"/>
                  </a:gdLst>
                  <a:ahLst/>
                  <a:cxnLst>
                    <a:cxn ang="0">
                      <a:pos x="T0" y="T1"/>
                    </a:cxn>
                    <a:cxn ang="0">
                      <a:pos x="T2" y="T3"/>
                    </a:cxn>
                    <a:cxn ang="0">
                      <a:pos x="T4" y="T5"/>
                    </a:cxn>
                  </a:cxnLst>
                  <a:rect l="0" t="0" r="r" b="b"/>
                  <a:pathLst>
                    <a:path w="13" h="12">
                      <a:moveTo>
                        <a:pt x="10" y="0"/>
                      </a:moveTo>
                      <a:cubicBezTo>
                        <a:pt x="4" y="1"/>
                        <a:pt x="0" y="7"/>
                        <a:pt x="2" y="12"/>
                      </a:cubicBezTo>
                      <a:cubicBezTo>
                        <a:pt x="8" y="12"/>
                        <a:pt x="13" y="4"/>
                        <a:pt x="10" y="0"/>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74">
                  <a:extLst>
                    <a:ext uri="{FF2B5EF4-FFF2-40B4-BE49-F238E27FC236}">
                      <a16:creationId xmlns:a16="http://schemas.microsoft.com/office/drawing/2014/main" id="{F9530CBF-D60A-4D50-A9F9-E3E749631402}"/>
                    </a:ext>
                  </a:extLst>
                </p:cNvPr>
                <p:cNvSpPr>
                  <a:spLocks/>
                </p:cNvSpPr>
                <p:nvPr/>
              </p:nvSpPr>
              <p:spPr bwMode="auto">
                <a:xfrm>
                  <a:off x="7962900" y="2938463"/>
                  <a:ext cx="36513" cy="50800"/>
                </a:xfrm>
                <a:custGeom>
                  <a:avLst/>
                  <a:gdLst>
                    <a:gd name="T0" fmla="*/ 0 w 11"/>
                    <a:gd name="T1" fmla="*/ 5 h 15"/>
                    <a:gd name="T2" fmla="*/ 9 w 11"/>
                    <a:gd name="T3" fmla="*/ 15 h 15"/>
                    <a:gd name="T4" fmla="*/ 0 w 11"/>
                    <a:gd name="T5" fmla="*/ 5 h 15"/>
                  </a:gdLst>
                  <a:ahLst/>
                  <a:cxnLst>
                    <a:cxn ang="0">
                      <a:pos x="T0" y="T1"/>
                    </a:cxn>
                    <a:cxn ang="0">
                      <a:pos x="T2" y="T3"/>
                    </a:cxn>
                    <a:cxn ang="0">
                      <a:pos x="T4" y="T5"/>
                    </a:cxn>
                  </a:cxnLst>
                  <a:rect l="0" t="0" r="r" b="b"/>
                  <a:pathLst>
                    <a:path w="11" h="15">
                      <a:moveTo>
                        <a:pt x="0" y="5"/>
                      </a:moveTo>
                      <a:cubicBezTo>
                        <a:pt x="2" y="9"/>
                        <a:pt x="2" y="15"/>
                        <a:pt x="9" y="15"/>
                      </a:cubicBezTo>
                      <a:cubicBezTo>
                        <a:pt x="11" y="10"/>
                        <a:pt x="5" y="0"/>
                        <a:pt x="0" y="5"/>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75">
                  <a:extLst>
                    <a:ext uri="{FF2B5EF4-FFF2-40B4-BE49-F238E27FC236}">
                      <a16:creationId xmlns:a16="http://schemas.microsoft.com/office/drawing/2014/main" id="{C7932058-7FD8-40A2-8D40-2A8C13608AB6}"/>
                    </a:ext>
                  </a:extLst>
                </p:cNvPr>
                <p:cNvSpPr>
                  <a:spLocks/>
                </p:cNvSpPr>
                <p:nvPr/>
              </p:nvSpPr>
              <p:spPr bwMode="auto">
                <a:xfrm>
                  <a:off x="8020050" y="2998788"/>
                  <a:ext cx="128588" cy="125412"/>
                </a:xfrm>
                <a:custGeom>
                  <a:avLst/>
                  <a:gdLst>
                    <a:gd name="T0" fmla="*/ 38 w 38"/>
                    <a:gd name="T1" fmla="*/ 1 h 37"/>
                    <a:gd name="T2" fmla="*/ 37 w 38"/>
                    <a:gd name="T3" fmla="*/ 2 h 37"/>
                    <a:gd name="T4" fmla="*/ 17 w 38"/>
                    <a:gd name="T5" fmla="*/ 13 h 37"/>
                    <a:gd name="T6" fmla="*/ 1 w 38"/>
                    <a:gd name="T7" fmla="*/ 30 h 37"/>
                    <a:gd name="T8" fmla="*/ 10 w 38"/>
                    <a:gd name="T9" fmla="*/ 37 h 37"/>
                    <a:gd name="T10" fmla="*/ 38 w 38"/>
                    <a:gd name="T11" fmla="*/ 1 h 37"/>
                  </a:gdLst>
                  <a:ahLst/>
                  <a:cxnLst>
                    <a:cxn ang="0">
                      <a:pos x="T0" y="T1"/>
                    </a:cxn>
                    <a:cxn ang="0">
                      <a:pos x="T2" y="T3"/>
                    </a:cxn>
                    <a:cxn ang="0">
                      <a:pos x="T4" y="T5"/>
                    </a:cxn>
                    <a:cxn ang="0">
                      <a:pos x="T6" y="T7"/>
                    </a:cxn>
                    <a:cxn ang="0">
                      <a:pos x="T8" y="T9"/>
                    </a:cxn>
                    <a:cxn ang="0">
                      <a:pos x="T10" y="T11"/>
                    </a:cxn>
                  </a:cxnLst>
                  <a:rect l="0" t="0" r="r" b="b"/>
                  <a:pathLst>
                    <a:path w="38" h="37">
                      <a:moveTo>
                        <a:pt x="38" y="1"/>
                      </a:moveTo>
                      <a:cubicBezTo>
                        <a:pt x="37" y="0"/>
                        <a:pt x="37" y="1"/>
                        <a:pt x="37" y="2"/>
                      </a:cubicBezTo>
                      <a:cubicBezTo>
                        <a:pt x="30" y="5"/>
                        <a:pt x="25" y="8"/>
                        <a:pt x="17" y="13"/>
                      </a:cubicBezTo>
                      <a:cubicBezTo>
                        <a:pt x="11" y="17"/>
                        <a:pt x="0" y="22"/>
                        <a:pt x="1" y="30"/>
                      </a:cubicBezTo>
                      <a:cubicBezTo>
                        <a:pt x="2" y="34"/>
                        <a:pt x="6" y="37"/>
                        <a:pt x="10" y="37"/>
                      </a:cubicBezTo>
                      <a:cubicBezTo>
                        <a:pt x="20" y="36"/>
                        <a:pt x="32" y="9"/>
                        <a:pt x="38" y="1"/>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76">
                  <a:extLst>
                    <a:ext uri="{FF2B5EF4-FFF2-40B4-BE49-F238E27FC236}">
                      <a16:creationId xmlns:a16="http://schemas.microsoft.com/office/drawing/2014/main" id="{E7977DB3-D02A-4FB5-9C2E-2459B44B80F6}"/>
                    </a:ext>
                  </a:extLst>
                </p:cNvPr>
                <p:cNvSpPr>
                  <a:spLocks/>
                </p:cNvSpPr>
                <p:nvPr/>
              </p:nvSpPr>
              <p:spPr bwMode="auto">
                <a:xfrm>
                  <a:off x="8161338" y="3001963"/>
                  <a:ext cx="44450" cy="47625"/>
                </a:xfrm>
                <a:custGeom>
                  <a:avLst/>
                  <a:gdLst>
                    <a:gd name="T0" fmla="*/ 0 w 13"/>
                    <a:gd name="T1" fmla="*/ 7 h 14"/>
                    <a:gd name="T2" fmla="*/ 13 w 13"/>
                    <a:gd name="T3" fmla="*/ 2 h 14"/>
                    <a:gd name="T4" fmla="*/ 0 w 13"/>
                    <a:gd name="T5" fmla="*/ 7 h 14"/>
                  </a:gdLst>
                  <a:ahLst/>
                  <a:cxnLst>
                    <a:cxn ang="0">
                      <a:pos x="T0" y="T1"/>
                    </a:cxn>
                    <a:cxn ang="0">
                      <a:pos x="T2" y="T3"/>
                    </a:cxn>
                    <a:cxn ang="0">
                      <a:pos x="T4" y="T5"/>
                    </a:cxn>
                  </a:cxnLst>
                  <a:rect l="0" t="0" r="r" b="b"/>
                  <a:pathLst>
                    <a:path w="13" h="14">
                      <a:moveTo>
                        <a:pt x="0" y="7"/>
                      </a:moveTo>
                      <a:cubicBezTo>
                        <a:pt x="2" y="14"/>
                        <a:pt x="13" y="8"/>
                        <a:pt x="13" y="2"/>
                      </a:cubicBezTo>
                      <a:cubicBezTo>
                        <a:pt x="8" y="0"/>
                        <a:pt x="3" y="4"/>
                        <a:pt x="0" y="7"/>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77">
                  <a:extLst>
                    <a:ext uri="{FF2B5EF4-FFF2-40B4-BE49-F238E27FC236}">
                      <a16:creationId xmlns:a16="http://schemas.microsoft.com/office/drawing/2014/main" id="{F29A0DFC-7D42-4234-BA27-629610B0729D}"/>
                    </a:ext>
                  </a:extLst>
                </p:cNvPr>
                <p:cNvSpPr>
                  <a:spLocks/>
                </p:cNvSpPr>
                <p:nvPr/>
              </p:nvSpPr>
              <p:spPr bwMode="auto">
                <a:xfrm>
                  <a:off x="7900988" y="3001963"/>
                  <a:ext cx="44450" cy="38100"/>
                </a:xfrm>
                <a:custGeom>
                  <a:avLst/>
                  <a:gdLst>
                    <a:gd name="T0" fmla="*/ 0 w 13"/>
                    <a:gd name="T1" fmla="*/ 2 h 11"/>
                    <a:gd name="T2" fmla="*/ 11 w 13"/>
                    <a:gd name="T3" fmla="*/ 11 h 11"/>
                    <a:gd name="T4" fmla="*/ 13 w 13"/>
                    <a:gd name="T5" fmla="*/ 8 h 11"/>
                    <a:gd name="T6" fmla="*/ 0 w 13"/>
                    <a:gd name="T7" fmla="*/ 2 h 11"/>
                  </a:gdLst>
                  <a:ahLst/>
                  <a:cxnLst>
                    <a:cxn ang="0">
                      <a:pos x="T0" y="T1"/>
                    </a:cxn>
                    <a:cxn ang="0">
                      <a:pos x="T2" y="T3"/>
                    </a:cxn>
                    <a:cxn ang="0">
                      <a:pos x="T4" y="T5"/>
                    </a:cxn>
                    <a:cxn ang="0">
                      <a:pos x="T6" y="T7"/>
                    </a:cxn>
                  </a:cxnLst>
                  <a:rect l="0" t="0" r="r" b="b"/>
                  <a:pathLst>
                    <a:path w="13" h="11">
                      <a:moveTo>
                        <a:pt x="0" y="2"/>
                      </a:moveTo>
                      <a:cubicBezTo>
                        <a:pt x="1" y="8"/>
                        <a:pt x="6" y="9"/>
                        <a:pt x="11" y="11"/>
                      </a:cubicBezTo>
                      <a:cubicBezTo>
                        <a:pt x="12" y="9"/>
                        <a:pt x="13" y="9"/>
                        <a:pt x="13" y="8"/>
                      </a:cubicBezTo>
                      <a:cubicBezTo>
                        <a:pt x="11" y="4"/>
                        <a:pt x="6" y="0"/>
                        <a:pt x="0" y="2"/>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78">
                  <a:extLst>
                    <a:ext uri="{FF2B5EF4-FFF2-40B4-BE49-F238E27FC236}">
                      <a16:creationId xmlns:a16="http://schemas.microsoft.com/office/drawing/2014/main" id="{F03538C8-E005-4FF3-94C6-BB96FA8DD96B}"/>
                    </a:ext>
                  </a:extLst>
                </p:cNvPr>
                <p:cNvSpPr>
                  <a:spLocks/>
                </p:cNvSpPr>
                <p:nvPr/>
              </p:nvSpPr>
              <p:spPr bwMode="auto">
                <a:xfrm>
                  <a:off x="8175625" y="3076575"/>
                  <a:ext cx="57150" cy="28575"/>
                </a:xfrm>
                <a:custGeom>
                  <a:avLst/>
                  <a:gdLst>
                    <a:gd name="T0" fmla="*/ 1 w 17"/>
                    <a:gd name="T1" fmla="*/ 7 h 8"/>
                    <a:gd name="T2" fmla="*/ 15 w 17"/>
                    <a:gd name="T3" fmla="*/ 7 h 8"/>
                    <a:gd name="T4" fmla="*/ 1 w 17"/>
                    <a:gd name="T5" fmla="*/ 7 h 8"/>
                  </a:gdLst>
                  <a:ahLst/>
                  <a:cxnLst>
                    <a:cxn ang="0">
                      <a:pos x="T0" y="T1"/>
                    </a:cxn>
                    <a:cxn ang="0">
                      <a:pos x="T2" y="T3"/>
                    </a:cxn>
                    <a:cxn ang="0">
                      <a:pos x="T4" y="T5"/>
                    </a:cxn>
                  </a:cxnLst>
                  <a:rect l="0" t="0" r="r" b="b"/>
                  <a:pathLst>
                    <a:path w="17" h="8">
                      <a:moveTo>
                        <a:pt x="1" y="7"/>
                      </a:moveTo>
                      <a:cubicBezTo>
                        <a:pt x="4" y="8"/>
                        <a:pt x="12" y="8"/>
                        <a:pt x="15" y="7"/>
                      </a:cubicBezTo>
                      <a:cubicBezTo>
                        <a:pt x="17" y="0"/>
                        <a:pt x="0" y="0"/>
                        <a:pt x="1" y="7"/>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79">
                  <a:extLst>
                    <a:ext uri="{FF2B5EF4-FFF2-40B4-BE49-F238E27FC236}">
                      <a16:creationId xmlns:a16="http://schemas.microsoft.com/office/drawing/2014/main" id="{DF4EC126-B2A8-43E8-A363-7A27855D753F}"/>
                    </a:ext>
                  </a:extLst>
                </p:cNvPr>
                <p:cNvSpPr>
                  <a:spLocks/>
                </p:cNvSpPr>
                <p:nvPr/>
              </p:nvSpPr>
              <p:spPr bwMode="auto">
                <a:xfrm>
                  <a:off x="7877175" y="3076575"/>
                  <a:ext cx="53975" cy="28575"/>
                </a:xfrm>
                <a:custGeom>
                  <a:avLst/>
                  <a:gdLst>
                    <a:gd name="T0" fmla="*/ 1 w 16"/>
                    <a:gd name="T1" fmla="*/ 7 h 8"/>
                    <a:gd name="T2" fmla="*/ 15 w 16"/>
                    <a:gd name="T3" fmla="*/ 7 h 8"/>
                    <a:gd name="T4" fmla="*/ 1 w 16"/>
                    <a:gd name="T5" fmla="*/ 7 h 8"/>
                  </a:gdLst>
                  <a:ahLst/>
                  <a:cxnLst>
                    <a:cxn ang="0">
                      <a:pos x="T0" y="T1"/>
                    </a:cxn>
                    <a:cxn ang="0">
                      <a:pos x="T2" y="T3"/>
                    </a:cxn>
                    <a:cxn ang="0">
                      <a:pos x="T4" y="T5"/>
                    </a:cxn>
                  </a:cxnLst>
                  <a:rect l="0" t="0" r="r" b="b"/>
                  <a:pathLst>
                    <a:path w="16" h="8">
                      <a:moveTo>
                        <a:pt x="1" y="7"/>
                      </a:moveTo>
                      <a:cubicBezTo>
                        <a:pt x="4" y="8"/>
                        <a:pt x="12" y="8"/>
                        <a:pt x="15" y="7"/>
                      </a:cubicBezTo>
                      <a:cubicBezTo>
                        <a:pt x="16" y="0"/>
                        <a:pt x="0" y="0"/>
                        <a:pt x="1" y="7"/>
                      </a:cubicBezTo>
                      <a:close/>
                    </a:path>
                  </a:pathLst>
                </a:custGeom>
                <a:solidFill>
                  <a:srgbClr val="006D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244" name="Groupe 243">
            <a:extLst>
              <a:ext uri="{FF2B5EF4-FFF2-40B4-BE49-F238E27FC236}">
                <a16:creationId xmlns:a16="http://schemas.microsoft.com/office/drawing/2014/main" id="{E96FD84F-99CF-4C63-8FC4-8D2F5ABD4CEC}"/>
              </a:ext>
            </a:extLst>
          </p:cNvPr>
          <p:cNvGrpSpPr/>
          <p:nvPr/>
        </p:nvGrpSpPr>
        <p:grpSpPr>
          <a:xfrm>
            <a:off x="9013248" y="4803638"/>
            <a:ext cx="1662471" cy="563862"/>
            <a:chOff x="9013248" y="4803638"/>
            <a:chExt cx="1662471" cy="563862"/>
          </a:xfrm>
        </p:grpSpPr>
        <p:sp>
          <p:nvSpPr>
            <p:cNvPr id="188" name="ZoneTexte 187">
              <a:extLst>
                <a:ext uri="{FF2B5EF4-FFF2-40B4-BE49-F238E27FC236}">
                  <a16:creationId xmlns:a16="http://schemas.microsoft.com/office/drawing/2014/main" id="{6FC45416-ADE0-4B70-8EA4-27A30E9E7378}"/>
                </a:ext>
              </a:extLst>
            </p:cNvPr>
            <p:cNvSpPr txBox="1"/>
            <p:nvPr/>
          </p:nvSpPr>
          <p:spPr>
            <a:xfrm>
              <a:off x="9604991" y="4949799"/>
              <a:ext cx="1070728" cy="307777"/>
            </a:xfrm>
            <a:prstGeom prst="rect">
              <a:avLst/>
            </a:prstGeom>
            <a:noFill/>
          </p:spPr>
          <p:txBody>
            <a:bodyPr wrap="square" rtlCol="0">
              <a:spAutoFit/>
            </a:bodyPr>
            <a:lstStyle/>
            <a:p>
              <a:r>
                <a:rPr lang="fr-FR" sz="1400" b="1" dirty="0">
                  <a:solidFill>
                    <a:schemeClr val="bg2">
                      <a:lumMod val="50000"/>
                    </a:schemeClr>
                  </a:solidFill>
                </a:rPr>
                <a:t>Equipe</a:t>
              </a:r>
            </a:p>
          </p:txBody>
        </p:sp>
        <p:grpSp>
          <p:nvGrpSpPr>
            <p:cNvPr id="215" name="Group 23">
              <a:extLst>
                <a:ext uri="{FF2B5EF4-FFF2-40B4-BE49-F238E27FC236}">
                  <a16:creationId xmlns:a16="http://schemas.microsoft.com/office/drawing/2014/main" id="{AFD32011-478F-410A-9A69-F9A1284B9F0B}"/>
                </a:ext>
              </a:extLst>
            </p:cNvPr>
            <p:cNvGrpSpPr>
              <a:grpSpLocks noChangeAspect="1"/>
            </p:cNvGrpSpPr>
            <p:nvPr/>
          </p:nvGrpSpPr>
          <p:grpSpPr>
            <a:xfrm>
              <a:off x="9013248" y="4803638"/>
              <a:ext cx="606232" cy="563862"/>
              <a:chOff x="-2836862" y="6440488"/>
              <a:chExt cx="885824" cy="823913"/>
            </a:xfrm>
          </p:grpSpPr>
          <p:sp>
            <p:nvSpPr>
              <p:cNvPr id="216" name="Freeform 23">
                <a:extLst>
                  <a:ext uri="{FF2B5EF4-FFF2-40B4-BE49-F238E27FC236}">
                    <a16:creationId xmlns:a16="http://schemas.microsoft.com/office/drawing/2014/main" id="{6704EAB2-67A4-42BD-AF41-5E69DC6DA4B0}"/>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7" name="Freeform 24">
                <a:extLst>
                  <a:ext uri="{FF2B5EF4-FFF2-40B4-BE49-F238E27FC236}">
                    <a16:creationId xmlns:a16="http://schemas.microsoft.com/office/drawing/2014/main" id="{B26317CD-4112-49EE-8825-FB14647394F0}"/>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8" name="Freeform 25">
                <a:extLst>
                  <a:ext uri="{FF2B5EF4-FFF2-40B4-BE49-F238E27FC236}">
                    <a16:creationId xmlns:a16="http://schemas.microsoft.com/office/drawing/2014/main" id="{79107ED1-99F7-4E65-BAA6-42EECBAC5A1B}"/>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9" name="Freeform 26">
                <a:extLst>
                  <a:ext uri="{FF2B5EF4-FFF2-40B4-BE49-F238E27FC236}">
                    <a16:creationId xmlns:a16="http://schemas.microsoft.com/office/drawing/2014/main" id="{D0C1956F-E703-4BA4-8D0B-4BFAFFDBA3A1}"/>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0" name="Freeform 27">
                <a:extLst>
                  <a:ext uri="{FF2B5EF4-FFF2-40B4-BE49-F238E27FC236}">
                    <a16:creationId xmlns:a16="http://schemas.microsoft.com/office/drawing/2014/main" id="{3F41AF56-B6AB-4315-A928-C7A0D31BAB42}"/>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1" name="Freeform 28">
                <a:extLst>
                  <a:ext uri="{FF2B5EF4-FFF2-40B4-BE49-F238E27FC236}">
                    <a16:creationId xmlns:a16="http://schemas.microsoft.com/office/drawing/2014/main" id="{1DF92759-AF7C-4065-BD54-E2352A53D275}"/>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2" name="Freeform 29">
                <a:extLst>
                  <a:ext uri="{FF2B5EF4-FFF2-40B4-BE49-F238E27FC236}">
                    <a16:creationId xmlns:a16="http://schemas.microsoft.com/office/drawing/2014/main" id="{593AF09E-C79D-44B0-85B2-46CAB46BB91B}"/>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86086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41" name="Groupe 240">
            <a:extLst>
              <a:ext uri="{FF2B5EF4-FFF2-40B4-BE49-F238E27FC236}">
                <a16:creationId xmlns:a16="http://schemas.microsoft.com/office/drawing/2014/main" id="{69F6023A-4816-4100-97BC-CEF60B2C3ECB}"/>
              </a:ext>
            </a:extLst>
          </p:cNvPr>
          <p:cNvGrpSpPr/>
          <p:nvPr/>
        </p:nvGrpSpPr>
        <p:grpSpPr>
          <a:xfrm>
            <a:off x="9031666" y="2694221"/>
            <a:ext cx="1977145" cy="563862"/>
            <a:chOff x="9031666" y="2694221"/>
            <a:chExt cx="1977145" cy="563862"/>
          </a:xfrm>
        </p:grpSpPr>
        <p:sp>
          <p:nvSpPr>
            <p:cNvPr id="184" name="ZoneTexte 183">
              <a:extLst>
                <a:ext uri="{FF2B5EF4-FFF2-40B4-BE49-F238E27FC236}">
                  <a16:creationId xmlns:a16="http://schemas.microsoft.com/office/drawing/2014/main" id="{F25B8594-2787-44BB-B40F-EBDEE88E10DE}"/>
                </a:ext>
              </a:extLst>
            </p:cNvPr>
            <p:cNvSpPr txBox="1"/>
            <p:nvPr/>
          </p:nvSpPr>
          <p:spPr>
            <a:xfrm>
              <a:off x="9604991" y="2850325"/>
              <a:ext cx="1403820" cy="307777"/>
            </a:xfrm>
            <a:prstGeom prst="rect">
              <a:avLst/>
            </a:prstGeom>
            <a:noFill/>
          </p:spPr>
          <p:txBody>
            <a:bodyPr wrap="square" rtlCol="0">
              <a:spAutoFit/>
            </a:bodyPr>
            <a:lstStyle/>
            <a:p>
              <a:r>
                <a:rPr lang="fr-FR" sz="1400" b="1" dirty="0">
                  <a:solidFill>
                    <a:schemeClr val="bg2">
                      <a:lumMod val="50000"/>
                    </a:schemeClr>
                  </a:solidFill>
                </a:rPr>
                <a:t>Outils</a:t>
              </a:r>
            </a:p>
          </p:txBody>
        </p:sp>
        <p:grpSp>
          <p:nvGrpSpPr>
            <p:cNvPr id="223" name="Group 8">
              <a:extLst>
                <a:ext uri="{FF2B5EF4-FFF2-40B4-BE49-F238E27FC236}">
                  <a16:creationId xmlns:a16="http://schemas.microsoft.com/office/drawing/2014/main" id="{18533C32-B120-4E55-8D3A-CB613314E02C}"/>
                </a:ext>
              </a:extLst>
            </p:cNvPr>
            <p:cNvGrpSpPr/>
            <p:nvPr/>
          </p:nvGrpSpPr>
          <p:grpSpPr>
            <a:xfrm>
              <a:off x="9031666" y="2694221"/>
              <a:ext cx="624308" cy="563862"/>
              <a:chOff x="6460778" y="5092349"/>
              <a:chExt cx="1114525" cy="1051130"/>
            </a:xfrm>
          </p:grpSpPr>
          <p:sp>
            <p:nvSpPr>
              <p:cNvPr id="224" name="Freeform 7">
                <a:extLst>
                  <a:ext uri="{FF2B5EF4-FFF2-40B4-BE49-F238E27FC236}">
                    <a16:creationId xmlns:a16="http://schemas.microsoft.com/office/drawing/2014/main" id="{848081E9-56E3-4261-856D-4C767AB0B063}"/>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rgbClr val="00206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5" name="Freeform 5">
                <a:extLst>
                  <a:ext uri="{FF2B5EF4-FFF2-40B4-BE49-F238E27FC236}">
                    <a16:creationId xmlns:a16="http://schemas.microsoft.com/office/drawing/2014/main" id="{30477EC3-8CAA-4C51-A2F4-94781EBF0EB6}"/>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243" name="Groupe 242">
            <a:extLst>
              <a:ext uri="{FF2B5EF4-FFF2-40B4-BE49-F238E27FC236}">
                <a16:creationId xmlns:a16="http://schemas.microsoft.com/office/drawing/2014/main" id="{9041753B-7F12-4DDA-ABB9-2D0EA430D992}"/>
              </a:ext>
            </a:extLst>
          </p:cNvPr>
          <p:cNvGrpSpPr/>
          <p:nvPr/>
        </p:nvGrpSpPr>
        <p:grpSpPr>
          <a:xfrm>
            <a:off x="9020662" y="4083826"/>
            <a:ext cx="1692635" cy="584923"/>
            <a:chOff x="9020662" y="4083826"/>
            <a:chExt cx="1692635" cy="584923"/>
          </a:xfrm>
        </p:grpSpPr>
        <p:sp>
          <p:nvSpPr>
            <p:cNvPr id="187" name="ZoneTexte 186">
              <a:extLst>
                <a:ext uri="{FF2B5EF4-FFF2-40B4-BE49-F238E27FC236}">
                  <a16:creationId xmlns:a16="http://schemas.microsoft.com/office/drawing/2014/main" id="{FD858801-E629-4C9A-BAD5-75F1CAC2E245}"/>
                </a:ext>
              </a:extLst>
            </p:cNvPr>
            <p:cNvSpPr txBox="1"/>
            <p:nvPr/>
          </p:nvSpPr>
          <p:spPr>
            <a:xfrm>
              <a:off x="9642569" y="4283146"/>
              <a:ext cx="1070728" cy="307777"/>
            </a:xfrm>
            <a:prstGeom prst="rect">
              <a:avLst/>
            </a:prstGeom>
            <a:noFill/>
          </p:spPr>
          <p:txBody>
            <a:bodyPr wrap="square" rtlCol="0">
              <a:spAutoFit/>
            </a:bodyPr>
            <a:lstStyle/>
            <a:p>
              <a:r>
                <a:rPr lang="fr-FR" sz="1400" b="1" dirty="0">
                  <a:solidFill>
                    <a:schemeClr val="bg2">
                      <a:lumMod val="50000"/>
                    </a:schemeClr>
                  </a:solidFill>
                </a:rPr>
                <a:t>Culture</a:t>
              </a:r>
            </a:p>
          </p:txBody>
        </p:sp>
        <p:grpSp>
          <p:nvGrpSpPr>
            <p:cNvPr id="226" name="Group 588">
              <a:extLst>
                <a:ext uri="{FF2B5EF4-FFF2-40B4-BE49-F238E27FC236}">
                  <a16:creationId xmlns:a16="http://schemas.microsoft.com/office/drawing/2014/main" id="{71B4D314-7FA8-4761-A266-310E06FC5C47}"/>
                </a:ext>
              </a:extLst>
            </p:cNvPr>
            <p:cNvGrpSpPr/>
            <p:nvPr/>
          </p:nvGrpSpPr>
          <p:grpSpPr>
            <a:xfrm>
              <a:off x="9020662" y="4083826"/>
              <a:ext cx="624308" cy="584923"/>
              <a:chOff x="2763838" y="4614865"/>
              <a:chExt cx="825500" cy="777876"/>
            </a:xfrm>
          </p:grpSpPr>
          <p:sp>
            <p:nvSpPr>
              <p:cNvPr id="227" name="Freeform 176">
                <a:extLst>
                  <a:ext uri="{FF2B5EF4-FFF2-40B4-BE49-F238E27FC236}">
                    <a16:creationId xmlns:a16="http://schemas.microsoft.com/office/drawing/2014/main" id="{EA781999-0A41-4CA5-8F18-C8A97A80D481}"/>
                  </a:ext>
                </a:extLst>
              </p:cNvPr>
              <p:cNvSpPr>
                <a:spLocks/>
              </p:cNvSpPr>
              <p:nvPr/>
            </p:nvSpPr>
            <p:spPr bwMode="auto">
              <a:xfrm>
                <a:off x="2763838" y="4614865"/>
                <a:ext cx="825500" cy="777876"/>
              </a:xfrm>
              <a:custGeom>
                <a:avLst/>
                <a:gdLst>
                  <a:gd name="T0" fmla="*/ 62 w 430"/>
                  <a:gd name="T1" fmla="*/ 314 h 402"/>
                  <a:gd name="T2" fmla="*/ 103 w 430"/>
                  <a:gd name="T3" fmla="*/ 60 h 402"/>
                  <a:gd name="T4" fmla="*/ 368 w 430"/>
                  <a:gd name="T5" fmla="*/ 97 h 402"/>
                  <a:gd name="T6" fmla="*/ 320 w 430"/>
                  <a:gd name="T7" fmla="*/ 342 h 402"/>
                  <a:gd name="T8" fmla="*/ 62 w 430"/>
                  <a:gd name="T9" fmla="*/ 314 h 402"/>
                </a:gdLst>
                <a:ahLst/>
                <a:cxnLst>
                  <a:cxn ang="0">
                    <a:pos x="T0" y="T1"/>
                  </a:cxn>
                  <a:cxn ang="0">
                    <a:pos x="T2" y="T3"/>
                  </a:cxn>
                  <a:cxn ang="0">
                    <a:pos x="T4" y="T5"/>
                  </a:cxn>
                  <a:cxn ang="0">
                    <a:pos x="T6" y="T7"/>
                  </a:cxn>
                  <a:cxn ang="0">
                    <a:pos x="T8" y="T9"/>
                  </a:cxn>
                </a:cxnLst>
                <a:rect l="0" t="0" r="r" b="b"/>
                <a:pathLst>
                  <a:path w="430" h="402">
                    <a:moveTo>
                      <a:pt x="62" y="314"/>
                    </a:moveTo>
                    <a:cubicBezTo>
                      <a:pt x="0" y="234"/>
                      <a:pt x="18" y="120"/>
                      <a:pt x="103" y="60"/>
                    </a:cubicBezTo>
                    <a:cubicBezTo>
                      <a:pt x="188" y="0"/>
                      <a:pt x="306" y="17"/>
                      <a:pt x="368" y="97"/>
                    </a:cubicBezTo>
                    <a:cubicBezTo>
                      <a:pt x="430" y="178"/>
                      <a:pt x="405" y="282"/>
                      <a:pt x="320" y="342"/>
                    </a:cubicBezTo>
                    <a:cubicBezTo>
                      <a:pt x="235" y="402"/>
                      <a:pt x="123" y="395"/>
                      <a:pt x="62" y="314"/>
                    </a:cubicBezTo>
                  </a:path>
                </a:pathLst>
              </a:custGeom>
              <a:solidFill>
                <a:srgbClr val="00206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8" name="Oval 177">
                <a:extLst>
                  <a:ext uri="{FF2B5EF4-FFF2-40B4-BE49-F238E27FC236}">
                    <a16:creationId xmlns:a16="http://schemas.microsoft.com/office/drawing/2014/main" id="{83A6E56C-90C8-42E7-B49A-A1047553FEBC}"/>
                  </a:ext>
                </a:extLst>
              </p:cNvPr>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29" name="Freeform 178">
                <a:extLst>
                  <a:ext uri="{FF2B5EF4-FFF2-40B4-BE49-F238E27FC236}">
                    <a16:creationId xmlns:a16="http://schemas.microsoft.com/office/drawing/2014/main" id="{00DF5AE4-3309-430B-939C-0100DC5A82E5}"/>
                  </a:ext>
                </a:extLst>
              </p:cNvPr>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30" name="Freeform 179">
                <a:extLst>
                  <a:ext uri="{FF2B5EF4-FFF2-40B4-BE49-F238E27FC236}">
                    <a16:creationId xmlns:a16="http://schemas.microsoft.com/office/drawing/2014/main" id="{A2E26593-99A9-4A93-884A-6FE750D9840C}"/>
                  </a:ext>
                </a:extLst>
              </p:cNvPr>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80">
                <a:extLst>
                  <a:ext uri="{FF2B5EF4-FFF2-40B4-BE49-F238E27FC236}">
                    <a16:creationId xmlns:a16="http://schemas.microsoft.com/office/drawing/2014/main" id="{A3EF17A2-F482-4D0F-8246-BE3DFA3121F6}"/>
                  </a:ext>
                </a:extLst>
              </p:cNvPr>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81">
                <a:extLst>
                  <a:ext uri="{FF2B5EF4-FFF2-40B4-BE49-F238E27FC236}">
                    <a16:creationId xmlns:a16="http://schemas.microsoft.com/office/drawing/2014/main" id="{1F8D72D5-53C1-4F81-B74C-B48F9EB3E3F5}"/>
                  </a:ext>
                </a:extLst>
              </p:cNvPr>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82">
                <a:extLst>
                  <a:ext uri="{FF2B5EF4-FFF2-40B4-BE49-F238E27FC236}">
                    <a16:creationId xmlns:a16="http://schemas.microsoft.com/office/drawing/2014/main" id="{BBC7D3C2-17FD-4A1E-92A2-4FED71D7DF1B}"/>
                  </a:ext>
                </a:extLst>
              </p:cNvPr>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83">
                <a:extLst>
                  <a:ext uri="{FF2B5EF4-FFF2-40B4-BE49-F238E27FC236}">
                    <a16:creationId xmlns:a16="http://schemas.microsoft.com/office/drawing/2014/main" id="{424A3191-3042-492B-8F3F-E79064516D00}"/>
                  </a:ext>
                </a:extLst>
              </p:cNvPr>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45" name="Groupe 244">
            <a:extLst>
              <a:ext uri="{FF2B5EF4-FFF2-40B4-BE49-F238E27FC236}">
                <a16:creationId xmlns:a16="http://schemas.microsoft.com/office/drawing/2014/main" id="{2296BF10-80F8-48E7-AA4E-C20F2131D8F1}"/>
              </a:ext>
            </a:extLst>
          </p:cNvPr>
          <p:cNvGrpSpPr/>
          <p:nvPr/>
        </p:nvGrpSpPr>
        <p:grpSpPr>
          <a:xfrm>
            <a:off x="8992544" y="5528408"/>
            <a:ext cx="2675801" cy="563857"/>
            <a:chOff x="8992544" y="5528408"/>
            <a:chExt cx="2675801" cy="563857"/>
          </a:xfrm>
        </p:grpSpPr>
        <p:sp>
          <p:nvSpPr>
            <p:cNvPr id="190" name="ZoneTexte 189">
              <a:extLst>
                <a:ext uri="{FF2B5EF4-FFF2-40B4-BE49-F238E27FC236}">
                  <a16:creationId xmlns:a16="http://schemas.microsoft.com/office/drawing/2014/main" id="{8C9126F5-461B-4D38-B389-56CF78A501C0}"/>
                </a:ext>
              </a:extLst>
            </p:cNvPr>
            <p:cNvSpPr txBox="1"/>
            <p:nvPr/>
          </p:nvSpPr>
          <p:spPr>
            <a:xfrm>
              <a:off x="9619480" y="5681722"/>
              <a:ext cx="2048865" cy="307777"/>
            </a:xfrm>
            <a:prstGeom prst="rect">
              <a:avLst/>
            </a:prstGeom>
            <a:noFill/>
          </p:spPr>
          <p:txBody>
            <a:bodyPr wrap="square" rtlCol="0">
              <a:spAutoFit/>
            </a:bodyPr>
            <a:lstStyle/>
            <a:p>
              <a:r>
                <a:rPr lang="fr-FR" sz="1400" b="1" dirty="0">
                  <a:solidFill>
                    <a:schemeClr val="bg2">
                      <a:lumMod val="50000"/>
                    </a:schemeClr>
                  </a:solidFill>
                </a:rPr>
                <a:t>Coûts</a:t>
              </a:r>
            </a:p>
          </p:txBody>
        </p:sp>
        <p:grpSp>
          <p:nvGrpSpPr>
            <p:cNvPr id="235" name="Group 603">
              <a:extLst>
                <a:ext uri="{FF2B5EF4-FFF2-40B4-BE49-F238E27FC236}">
                  <a16:creationId xmlns:a16="http://schemas.microsoft.com/office/drawing/2014/main" id="{82A88826-3294-4A38-8A79-FE1E18BDD861}"/>
                </a:ext>
              </a:extLst>
            </p:cNvPr>
            <p:cNvGrpSpPr>
              <a:grpSpLocks noChangeAspect="1"/>
            </p:cNvGrpSpPr>
            <p:nvPr/>
          </p:nvGrpSpPr>
          <p:grpSpPr>
            <a:xfrm>
              <a:off x="8992544" y="5528408"/>
              <a:ext cx="598308" cy="563857"/>
              <a:chOff x="10044112" y="5702300"/>
              <a:chExt cx="827087" cy="779463"/>
            </a:xfrm>
          </p:grpSpPr>
          <p:sp>
            <p:nvSpPr>
              <p:cNvPr id="236" name="Freeform 217">
                <a:extLst>
                  <a:ext uri="{FF2B5EF4-FFF2-40B4-BE49-F238E27FC236}">
                    <a16:creationId xmlns:a16="http://schemas.microsoft.com/office/drawing/2014/main" id="{F497FDDB-F832-497D-B67A-C12198DDE5A4}"/>
                  </a:ext>
                </a:extLst>
              </p:cNvPr>
              <p:cNvSpPr>
                <a:spLocks/>
              </p:cNvSpPr>
              <p:nvPr/>
            </p:nvSpPr>
            <p:spPr bwMode="auto">
              <a:xfrm>
                <a:off x="10044112" y="5702300"/>
                <a:ext cx="827087" cy="779463"/>
              </a:xfrm>
              <a:custGeom>
                <a:avLst/>
                <a:gdLst>
                  <a:gd name="T0" fmla="*/ 62 w 430"/>
                  <a:gd name="T1" fmla="*/ 315 h 402"/>
                  <a:gd name="T2" fmla="*/ 103 w 430"/>
                  <a:gd name="T3" fmla="*/ 60 h 402"/>
                  <a:gd name="T4" fmla="*/ 368 w 430"/>
                  <a:gd name="T5" fmla="*/ 98 h 402"/>
                  <a:gd name="T6" fmla="*/ 320 w 430"/>
                  <a:gd name="T7" fmla="*/ 342 h 402"/>
                  <a:gd name="T8" fmla="*/ 62 w 430"/>
                  <a:gd name="T9" fmla="*/ 315 h 402"/>
                </a:gdLst>
                <a:ahLst/>
                <a:cxnLst>
                  <a:cxn ang="0">
                    <a:pos x="T0" y="T1"/>
                  </a:cxn>
                  <a:cxn ang="0">
                    <a:pos x="T2" y="T3"/>
                  </a:cxn>
                  <a:cxn ang="0">
                    <a:pos x="T4" y="T5"/>
                  </a:cxn>
                  <a:cxn ang="0">
                    <a:pos x="T6" y="T7"/>
                  </a:cxn>
                  <a:cxn ang="0">
                    <a:pos x="T8" y="T9"/>
                  </a:cxn>
                </a:cxnLst>
                <a:rect l="0" t="0" r="r" b="b"/>
                <a:pathLst>
                  <a:path w="430" h="402">
                    <a:moveTo>
                      <a:pt x="62" y="315"/>
                    </a:moveTo>
                    <a:cubicBezTo>
                      <a:pt x="0" y="234"/>
                      <a:pt x="18" y="120"/>
                      <a:pt x="103" y="60"/>
                    </a:cubicBezTo>
                    <a:cubicBezTo>
                      <a:pt x="188" y="0"/>
                      <a:pt x="306" y="17"/>
                      <a:pt x="368" y="98"/>
                    </a:cubicBezTo>
                    <a:cubicBezTo>
                      <a:pt x="430" y="178"/>
                      <a:pt x="405" y="282"/>
                      <a:pt x="320" y="342"/>
                    </a:cubicBezTo>
                    <a:cubicBezTo>
                      <a:pt x="235" y="402"/>
                      <a:pt x="123" y="395"/>
                      <a:pt x="62" y="315"/>
                    </a:cubicBezTo>
                  </a:path>
                </a:pathLst>
              </a:custGeom>
              <a:solidFill>
                <a:srgbClr val="00206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7" name="Oval 218">
                <a:extLst>
                  <a:ext uri="{FF2B5EF4-FFF2-40B4-BE49-F238E27FC236}">
                    <a16:creationId xmlns:a16="http://schemas.microsoft.com/office/drawing/2014/main" id="{8C8FD605-24C2-4E63-830A-8C1E8A109B07}"/>
                  </a:ext>
                </a:extLst>
              </p:cNvPr>
              <p:cNvSpPr>
                <a:spLocks noChangeArrowheads="1"/>
              </p:cNvSpPr>
              <p:nvPr/>
            </p:nvSpPr>
            <p:spPr bwMode="auto">
              <a:xfrm>
                <a:off x="10213974" y="5876925"/>
                <a:ext cx="446087" cy="4492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38" name="Freeform 219">
                <a:extLst>
                  <a:ext uri="{FF2B5EF4-FFF2-40B4-BE49-F238E27FC236}">
                    <a16:creationId xmlns:a16="http://schemas.microsoft.com/office/drawing/2014/main" id="{EE34A79D-5167-41DA-8F4C-3F67918C8D0A}"/>
                  </a:ext>
                </a:extLst>
              </p:cNvPr>
              <p:cNvSpPr>
                <a:spLocks/>
              </p:cNvSpPr>
              <p:nvPr/>
            </p:nvSpPr>
            <p:spPr bwMode="auto">
              <a:xfrm>
                <a:off x="10436224" y="5827713"/>
                <a:ext cx="284162" cy="282575"/>
              </a:xfrm>
              <a:custGeom>
                <a:avLst/>
                <a:gdLst>
                  <a:gd name="T0" fmla="*/ 127 w 148"/>
                  <a:gd name="T1" fmla="*/ 110 h 146"/>
                  <a:gd name="T2" fmla="*/ 18 w 148"/>
                  <a:gd name="T3" fmla="*/ 140 h 146"/>
                  <a:gd name="T4" fmla="*/ 6 w 148"/>
                  <a:gd name="T5" fmla="*/ 128 h 146"/>
                  <a:gd name="T6" fmla="*/ 39 w 148"/>
                  <a:gd name="T7" fmla="*/ 7 h 146"/>
                  <a:gd name="T8" fmla="*/ 41 w 148"/>
                  <a:gd name="T9" fmla="*/ 0 h 146"/>
                  <a:gd name="T10" fmla="*/ 103 w 148"/>
                  <a:gd name="T11" fmla="*/ 43 h 146"/>
                  <a:gd name="T12" fmla="*/ 136 w 148"/>
                  <a:gd name="T13" fmla="*/ 90 h 146"/>
                  <a:gd name="T14" fmla="*/ 127 w 148"/>
                  <a:gd name="T15" fmla="*/ 110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46">
                    <a:moveTo>
                      <a:pt x="127" y="110"/>
                    </a:moveTo>
                    <a:cubicBezTo>
                      <a:pt x="18" y="140"/>
                      <a:pt x="18" y="140"/>
                      <a:pt x="18" y="140"/>
                    </a:cubicBezTo>
                    <a:cubicBezTo>
                      <a:pt x="18" y="140"/>
                      <a:pt x="0" y="146"/>
                      <a:pt x="6" y="128"/>
                    </a:cubicBezTo>
                    <a:cubicBezTo>
                      <a:pt x="39" y="7"/>
                      <a:pt x="39" y="7"/>
                      <a:pt x="39" y="7"/>
                    </a:cubicBezTo>
                    <a:cubicBezTo>
                      <a:pt x="41" y="0"/>
                      <a:pt x="41" y="0"/>
                      <a:pt x="41" y="0"/>
                    </a:cubicBezTo>
                    <a:cubicBezTo>
                      <a:pt x="41" y="0"/>
                      <a:pt x="67" y="7"/>
                      <a:pt x="103" y="43"/>
                    </a:cubicBezTo>
                    <a:cubicBezTo>
                      <a:pt x="122" y="62"/>
                      <a:pt x="136" y="90"/>
                      <a:pt x="136" y="90"/>
                    </a:cubicBezTo>
                    <a:cubicBezTo>
                      <a:pt x="136" y="90"/>
                      <a:pt x="148" y="107"/>
                      <a:pt x="127" y="11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220">
                <a:extLst>
                  <a:ext uri="{FF2B5EF4-FFF2-40B4-BE49-F238E27FC236}">
                    <a16:creationId xmlns:a16="http://schemas.microsoft.com/office/drawing/2014/main" id="{C3311B00-257B-4368-A802-2B40ECC564B2}"/>
                  </a:ext>
                </a:extLst>
              </p:cNvPr>
              <p:cNvSpPr>
                <a:spLocks/>
              </p:cNvSpPr>
              <p:nvPr/>
            </p:nvSpPr>
            <p:spPr bwMode="auto">
              <a:xfrm>
                <a:off x="10263187" y="5964238"/>
                <a:ext cx="149225" cy="274638"/>
              </a:xfrm>
              <a:custGeom>
                <a:avLst/>
                <a:gdLst>
                  <a:gd name="T0" fmla="*/ 30 w 78"/>
                  <a:gd name="T1" fmla="*/ 123 h 142"/>
                  <a:gd name="T2" fmla="*/ 11 w 78"/>
                  <a:gd name="T3" fmla="*/ 119 h 142"/>
                  <a:gd name="T4" fmla="*/ 0 w 78"/>
                  <a:gd name="T5" fmla="*/ 115 h 142"/>
                  <a:gd name="T6" fmla="*/ 7 w 78"/>
                  <a:gd name="T7" fmla="*/ 97 h 142"/>
                  <a:gd name="T8" fmla="*/ 20 w 78"/>
                  <a:gd name="T9" fmla="*/ 102 h 142"/>
                  <a:gd name="T10" fmla="*/ 36 w 78"/>
                  <a:gd name="T11" fmla="*/ 104 h 142"/>
                  <a:gd name="T12" fmla="*/ 50 w 78"/>
                  <a:gd name="T13" fmla="*/ 101 h 142"/>
                  <a:gd name="T14" fmla="*/ 53 w 78"/>
                  <a:gd name="T15" fmla="*/ 94 h 142"/>
                  <a:gd name="T16" fmla="*/ 52 w 78"/>
                  <a:gd name="T17" fmla="*/ 89 h 142"/>
                  <a:gd name="T18" fmla="*/ 48 w 78"/>
                  <a:gd name="T19" fmla="*/ 85 h 142"/>
                  <a:gd name="T20" fmla="*/ 41 w 78"/>
                  <a:gd name="T21" fmla="*/ 81 h 142"/>
                  <a:gd name="T22" fmla="*/ 31 w 78"/>
                  <a:gd name="T23" fmla="*/ 78 h 142"/>
                  <a:gd name="T24" fmla="*/ 21 w 78"/>
                  <a:gd name="T25" fmla="*/ 73 h 142"/>
                  <a:gd name="T26" fmla="*/ 12 w 78"/>
                  <a:gd name="T27" fmla="*/ 68 h 142"/>
                  <a:gd name="T28" fmla="*/ 5 w 78"/>
                  <a:gd name="T29" fmla="*/ 59 h 142"/>
                  <a:gd name="T30" fmla="*/ 3 w 78"/>
                  <a:gd name="T31" fmla="*/ 48 h 142"/>
                  <a:gd name="T32" fmla="*/ 4 w 78"/>
                  <a:gd name="T33" fmla="*/ 37 h 142"/>
                  <a:gd name="T34" fmla="*/ 9 w 78"/>
                  <a:gd name="T35" fmla="*/ 28 h 142"/>
                  <a:gd name="T36" fmla="*/ 17 w 78"/>
                  <a:gd name="T37" fmla="*/ 22 h 142"/>
                  <a:gd name="T38" fmla="*/ 30 w 78"/>
                  <a:gd name="T39" fmla="*/ 18 h 142"/>
                  <a:gd name="T40" fmla="*/ 30 w 78"/>
                  <a:gd name="T41" fmla="*/ 0 h 142"/>
                  <a:gd name="T42" fmla="*/ 50 w 78"/>
                  <a:gd name="T43" fmla="*/ 0 h 142"/>
                  <a:gd name="T44" fmla="*/ 50 w 78"/>
                  <a:gd name="T45" fmla="*/ 17 h 142"/>
                  <a:gd name="T46" fmla="*/ 64 w 78"/>
                  <a:gd name="T47" fmla="*/ 19 h 142"/>
                  <a:gd name="T48" fmla="*/ 74 w 78"/>
                  <a:gd name="T49" fmla="*/ 23 h 142"/>
                  <a:gd name="T50" fmla="*/ 69 w 78"/>
                  <a:gd name="T51" fmla="*/ 42 h 142"/>
                  <a:gd name="T52" fmla="*/ 56 w 78"/>
                  <a:gd name="T53" fmla="*/ 38 h 142"/>
                  <a:gd name="T54" fmla="*/ 42 w 78"/>
                  <a:gd name="T55" fmla="*/ 36 h 142"/>
                  <a:gd name="T56" fmla="*/ 31 w 78"/>
                  <a:gd name="T57" fmla="*/ 39 h 142"/>
                  <a:gd name="T58" fmla="*/ 27 w 78"/>
                  <a:gd name="T59" fmla="*/ 46 h 142"/>
                  <a:gd name="T60" fmla="*/ 28 w 78"/>
                  <a:gd name="T61" fmla="*/ 50 h 142"/>
                  <a:gd name="T62" fmla="*/ 32 w 78"/>
                  <a:gd name="T63" fmla="*/ 53 h 142"/>
                  <a:gd name="T64" fmla="*/ 37 w 78"/>
                  <a:gd name="T65" fmla="*/ 56 h 142"/>
                  <a:gd name="T66" fmla="*/ 45 w 78"/>
                  <a:gd name="T67" fmla="*/ 59 h 142"/>
                  <a:gd name="T68" fmla="*/ 58 w 78"/>
                  <a:gd name="T69" fmla="*/ 65 h 142"/>
                  <a:gd name="T70" fmla="*/ 69 w 78"/>
                  <a:gd name="T71" fmla="*/ 72 h 142"/>
                  <a:gd name="T72" fmla="*/ 75 w 78"/>
                  <a:gd name="T73" fmla="*/ 81 h 142"/>
                  <a:gd name="T74" fmla="*/ 78 w 78"/>
                  <a:gd name="T75" fmla="*/ 93 h 142"/>
                  <a:gd name="T76" fmla="*/ 77 w 78"/>
                  <a:gd name="T77" fmla="*/ 103 h 142"/>
                  <a:gd name="T78" fmla="*/ 72 w 78"/>
                  <a:gd name="T79" fmla="*/ 112 h 142"/>
                  <a:gd name="T80" fmla="*/ 63 w 78"/>
                  <a:gd name="T81" fmla="*/ 118 h 142"/>
                  <a:gd name="T82" fmla="*/ 50 w 78"/>
                  <a:gd name="T83" fmla="*/ 123 h 142"/>
                  <a:gd name="T84" fmla="*/ 50 w 78"/>
                  <a:gd name="T85" fmla="*/ 142 h 142"/>
                  <a:gd name="T86" fmla="*/ 30 w 78"/>
                  <a:gd name="T87" fmla="*/ 142 h 142"/>
                  <a:gd name="T88" fmla="*/ 30 w 78"/>
                  <a:gd name="T89" fmla="*/ 12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142">
                    <a:moveTo>
                      <a:pt x="30" y="123"/>
                    </a:moveTo>
                    <a:cubicBezTo>
                      <a:pt x="22" y="122"/>
                      <a:pt x="15" y="121"/>
                      <a:pt x="11" y="119"/>
                    </a:cubicBezTo>
                    <a:cubicBezTo>
                      <a:pt x="6" y="118"/>
                      <a:pt x="2" y="116"/>
                      <a:pt x="0" y="115"/>
                    </a:cubicBezTo>
                    <a:cubicBezTo>
                      <a:pt x="7" y="97"/>
                      <a:pt x="7" y="97"/>
                      <a:pt x="7" y="97"/>
                    </a:cubicBezTo>
                    <a:cubicBezTo>
                      <a:pt x="10" y="98"/>
                      <a:pt x="15" y="100"/>
                      <a:pt x="20" y="102"/>
                    </a:cubicBezTo>
                    <a:cubicBezTo>
                      <a:pt x="25" y="103"/>
                      <a:pt x="31" y="104"/>
                      <a:pt x="36" y="104"/>
                    </a:cubicBezTo>
                    <a:cubicBezTo>
                      <a:pt x="43" y="104"/>
                      <a:pt x="47" y="103"/>
                      <a:pt x="50" y="101"/>
                    </a:cubicBezTo>
                    <a:cubicBezTo>
                      <a:pt x="52" y="99"/>
                      <a:pt x="53" y="97"/>
                      <a:pt x="53" y="94"/>
                    </a:cubicBezTo>
                    <a:cubicBezTo>
                      <a:pt x="53" y="92"/>
                      <a:pt x="53" y="90"/>
                      <a:pt x="52" y="89"/>
                    </a:cubicBezTo>
                    <a:cubicBezTo>
                      <a:pt x="51" y="87"/>
                      <a:pt x="50" y="86"/>
                      <a:pt x="48" y="85"/>
                    </a:cubicBezTo>
                    <a:cubicBezTo>
                      <a:pt x="46" y="83"/>
                      <a:pt x="44" y="82"/>
                      <a:pt x="41" y="81"/>
                    </a:cubicBezTo>
                    <a:cubicBezTo>
                      <a:pt x="38" y="80"/>
                      <a:pt x="35" y="79"/>
                      <a:pt x="31" y="78"/>
                    </a:cubicBezTo>
                    <a:cubicBezTo>
                      <a:pt x="28" y="76"/>
                      <a:pt x="24" y="75"/>
                      <a:pt x="21" y="73"/>
                    </a:cubicBezTo>
                    <a:cubicBezTo>
                      <a:pt x="18" y="72"/>
                      <a:pt x="15" y="70"/>
                      <a:pt x="12" y="68"/>
                    </a:cubicBezTo>
                    <a:cubicBezTo>
                      <a:pt x="9" y="65"/>
                      <a:pt x="7" y="63"/>
                      <a:pt x="5" y="59"/>
                    </a:cubicBezTo>
                    <a:cubicBezTo>
                      <a:pt x="4" y="56"/>
                      <a:pt x="3" y="52"/>
                      <a:pt x="3" y="48"/>
                    </a:cubicBezTo>
                    <a:cubicBezTo>
                      <a:pt x="3" y="44"/>
                      <a:pt x="3" y="41"/>
                      <a:pt x="4" y="37"/>
                    </a:cubicBezTo>
                    <a:cubicBezTo>
                      <a:pt x="5" y="34"/>
                      <a:pt x="7" y="31"/>
                      <a:pt x="9" y="28"/>
                    </a:cubicBezTo>
                    <a:cubicBezTo>
                      <a:pt x="11" y="26"/>
                      <a:pt x="14" y="24"/>
                      <a:pt x="17" y="22"/>
                    </a:cubicBezTo>
                    <a:cubicBezTo>
                      <a:pt x="21" y="20"/>
                      <a:pt x="25" y="18"/>
                      <a:pt x="30" y="18"/>
                    </a:cubicBezTo>
                    <a:cubicBezTo>
                      <a:pt x="30" y="0"/>
                      <a:pt x="30" y="0"/>
                      <a:pt x="30" y="0"/>
                    </a:cubicBezTo>
                    <a:cubicBezTo>
                      <a:pt x="50" y="0"/>
                      <a:pt x="50" y="0"/>
                      <a:pt x="50" y="0"/>
                    </a:cubicBezTo>
                    <a:cubicBezTo>
                      <a:pt x="50" y="17"/>
                      <a:pt x="50" y="17"/>
                      <a:pt x="50" y="17"/>
                    </a:cubicBezTo>
                    <a:cubicBezTo>
                      <a:pt x="55" y="17"/>
                      <a:pt x="60" y="18"/>
                      <a:pt x="64" y="19"/>
                    </a:cubicBezTo>
                    <a:cubicBezTo>
                      <a:pt x="68" y="20"/>
                      <a:pt x="71" y="21"/>
                      <a:pt x="74" y="23"/>
                    </a:cubicBezTo>
                    <a:cubicBezTo>
                      <a:pt x="69" y="42"/>
                      <a:pt x="69" y="42"/>
                      <a:pt x="69" y="42"/>
                    </a:cubicBezTo>
                    <a:cubicBezTo>
                      <a:pt x="65" y="40"/>
                      <a:pt x="61" y="39"/>
                      <a:pt x="56" y="38"/>
                    </a:cubicBezTo>
                    <a:cubicBezTo>
                      <a:pt x="52" y="37"/>
                      <a:pt x="47" y="36"/>
                      <a:pt x="42" y="36"/>
                    </a:cubicBezTo>
                    <a:cubicBezTo>
                      <a:pt x="37" y="36"/>
                      <a:pt x="33" y="37"/>
                      <a:pt x="31" y="39"/>
                    </a:cubicBezTo>
                    <a:cubicBezTo>
                      <a:pt x="28" y="41"/>
                      <a:pt x="27" y="43"/>
                      <a:pt x="27" y="46"/>
                    </a:cubicBezTo>
                    <a:cubicBezTo>
                      <a:pt x="27" y="47"/>
                      <a:pt x="28" y="49"/>
                      <a:pt x="28" y="50"/>
                    </a:cubicBezTo>
                    <a:cubicBezTo>
                      <a:pt x="29" y="51"/>
                      <a:pt x="30" y="52"/>
                      <a:pt x="32" y="53"/>
                    </a:cubicBezTo>
                    <a:cubicBezTo>
                      <a:pt x="33" y="54"/>
                      <a:pt x="35" y="55"/>
                      <a:pt x="37" y="56"/>
                    </a:cubicBezTo>
                    <a:cubicBezTo>
                      <a:pt x="39" y="57"/>
                      <a:pt x="42" y="58"/>
                      <a:pt x="45" y="59"/>
                    </a:cubicBezTo>
                    <a:cubicBezTo>
                      <a:pt x="50" y="61"/>
                      <a:pt x="54" y="63"/>
                      <a:pt x="58" y="65"/>
                    </a:cubicBezTo>
                    <a:cubicBezTo>
                      <a:pt x="62" y="67"/>
                      <a:pt x="66" y="69"/>
                      <a:pt x="69" y="72"/>
                    </a:cubicBezTo>
                    <a:cubicBezTo>
                      <a:pt x="72" y="74"/>
                      <a:pt x="74" y="77"/>
                      <a:pt x="75" y="81"/>
                    </a:cubicBezTo>
                    <a:cubicBezTo>
                      <a:pt x="77" y="84"/>
                      <a:pt x="78" y="89"/>
                      <a:pt x="78" y="93"/>
                    </a:cubicBezTo>
                    <a:cubicBezTo>
                      <a:pt x="78" y="96"/>
                      <a:pt x="77" y="100"/>
                      <a:pt x="77" y="103"/>
                    </a:cubicBezTo>
                    <a:cubicBezTo>
                      <a:pt x="76" y="106"/>
                      <a:pt x="74" y="109"/>
                      <a:pt x="72" y="112"/>
                    </a:cubicBezTo>
                    <a:cubicBezTo>
                      <a:pt x="69" y="114"/>
                      <a:pt x="67" y="116"/>
                      <a:pt x="63" y="118"/>
                    </a:cubicBezTo>
                    <a:cubicBezTo>
                      <a:pt x="59" y="120"/>
                      <a:pt x="55" y="122"/>
                      <a:pt x="50" y="123"/>
                    </a:cubicBezTo>
                    <a:cubicBezTo>
                      <a:pt x="50" y="142"/>
                      <a:pt x="50" y="142"/>
                      <a:pt x="50" y="142"/>
                    </a:cubicBezTo>
                    <a:cubicBezTo>
                      <a:pt x="30" y="142"/>
                      <a:pt x="30" y="142"/>
                      <a:pt x="30" y="142"/>
                    </a:cubicBezTo>
                    <a:lnTo>
                      <a:pt x="30" y="123"/>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141832574"/>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58"/>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64"/>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71"/>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54"/>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nodeType="clickEffect">
                                  <p:stCondLst>
                                    <p:cond delay="0"/>
                                  </p:stCondLst>
                                  <p:childTnLst>
                                    <p:set>
                                      <p:cBhvr>
                                        <p:cTn id="23" dur="1" fill="hold">
                                          <p:stCondLst>
                                            <p:cond delay="0"/>
                                          </p:stCondLst>
                                        </p:cTn>
                                        <p:tgtEl>
                                          <p:spTgt spid="180"/>
                                        </p:tgtEl>
                                        <p:attrNameLst>
                                          <p:attrName>style.visibility</p:attrName>
                                        </p:attrNameLst>
                                      </p:cBhvr>
                                      <p:to>
                                        <p:strVal val="visible"/>
                                      </p:to>
                                    </p:set>
                                    <p:anim calcmode="lin" valueType="num">
                                      <p:cBhvr>
                                        <p:cTn id="24" dur="500" fill="hold"/>
                                        <p:tgtEl>
                                          <p:spTgt spid="180"/>
                                        </p:tgtEl>
                                        <p:attrNameLst>
                                          <p:attrName>ppt_w</p:attrName>
                                        </p:attrNameLst>
                                      </p:cBhvr>
                                      <p:tavLst>
                                        <p:tav tm="0">
                                          <p:val>
                                            <p:fltVal val="0"/>
                                          </p:val>
                                        </p:tav>
                                        <p:tav tm="100000">
                                          <p:val>
                                            <p:strVal val="#ppt_w"/>
                                          </p:val>
                                        </p:tav>
                                      </p:tavLst>
                                    </p:anim>
                                    <p:anim calcmode="lin" valueType="num">
                                      <p:cBhvr>
                                        <p:cTn id="25" dur="500" fill="hold"/>
                                        <p:tgtEl>
                                          <p:spTgt spid="180"/>
                                        </p:tgtEl>
                                        <p:attrNameLst>
                                          <p:attrName>ppt_h</p:attrName>
                                        </p:attrNameLst>
                                      </p:cBhvr>
                                      <p:tavLst>
                                        <p:tav tm="0">
                                          <p:val>
                                            <p:fltVal val="0"/>
                                          </p:val>
                                        </p:tav>
                                        <p:tav tm="100000">
                                          <p:val>
                                            <p:strVal val="#ppt_h"/>
                                          </p:val>
                                        </p:tav>
                                      </p:tavLst>
                                    </p:anim>
                                    <p:animEffect transition="in" filter="fade">
                                      <p:cBhvr>
                                        <p:cTn id="26" dur="500"/>
                                        <p:tgtEl>
                                          <p:spTgt spid="180"/>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xit" presetSubtype="0" fill="hold" nodeType="clickEffect">
                                  <p:stCondLst>
                                    <p:cond delay="0"/>
                                  </p:stCondLst>
                                  <p:childTnLst>
                                    <p:anim calcmode="lin" valueType="num">
                                      <p:cBhvr>
                                        <p:cTn id="30" dur="700"/>
                                        <p:tgtEl>
                                          <p:spTgt spid="180"/>
                                        </p:tgtEl>
                                        <p:attrNameLst>
                                          <p:attrName>ppt_w</p:attrName>
                                        </p:attrNameLst>
                                      </p:cBhvr>
                                      <p:tavLst>
                                        <p:tav tm="0">
                                          <p:val>
                                            <p:strVal val="ppt_w"/>
                                          </p:val>
                                        </p:tav>
                                        <p:tav tm="100000">
                                          <p:val>
                                            <p:fltVal val="0"/>
                                          </p:val>
                                        </p:tav>
                                      </p:tavLst>
                                    </p:anim>
                                    <p:anim calcmode="lin" valueType="num">
                                      <p:cBhvr>
                                        <p:cTn id="31" dur="700"/>
                                        <p:tgtEl>
                                          <p:spTgt spid="180"/>
                                        </p:tgtEl>
                                        <p:attrNameLst>
                                          <p:attrName>ppt_h</p:attrName>
                                        </p:attrNameLst>
                                      </p:cBhvr>
                                      <p:tavLst>
                                        <p:tav tm="0">
                                          <p:val>
                                            <p:strVal val="ppt_h"/>
                                          </p:val>
                                        </p:tav>
                                        <p:tav tm="100000">
                                          <p:val>
                                            <p:fltVal val="0"/>
                                          </p:val>
                                        </p:tav>
                                      </p:tavLst>
                                    </p:anim>
                                    <p:anim calcmode="lin" valueType="num">
                                      <p:cBhvr>
                                        <p:cTn id="32" dur="700"/>
                                        <p:tgtEl>
                                          <p:spTgt spid="180"/>
                                        </p:tgtEl>
                                        <p:attrNameLst>
                                          <p:attrName>style.rotation</p:attrName>
                                        </p:attrNameLst>
                                      </p:cBhvr>
                                      <p:tavLst>
                                        <p:tav tm="0">
                                          <p:val>
                                            <p:fltVal val="0"/>
                                          </p:val>
                                        </p:tav>
                                        <p:tav tm="100000">
                                          <p:val>
                                            <p:fltVal val="90"/>
                                          </p:val>
                                        </p:tav>
                                      </p:tavLst>
                                    </p:anim>
                                    <p:animEffect transition="out" filter="fade">
                                      <p:cBhvr>
                                        <p:cTn id="33" dur="700"/>
                                        <p:tgtEl>
                                          <p:spTgt spid="180"/>
                                        </p:tgtEl>
                                      </p:cBhvr>
                                    </p:animEffect>
                                    <p:set>
                                      <p:cBhvr>
                                        <p:cTn id="34" dur="1" fill="hold">
                                          <p:stCondLst>
                                            <p:cond delay="699"/>
                                          </p:stCondLst>
                                        </p:cTn>
                                        <p:tgtEl>
                                          <p:spTgt spid="180"/>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23" presetClass="entr" presetSubtype="16" fill="hold" nodeType="clickEffect">
                                  <p:stCondLst>
                                    <p:cond delay="0"/>
                                  </p:stCondLst>
                                  <p:childTnLst>
                                    <p:set>
                                      <p:cBhvr>
                                        <p:cTn id="38" dur="1" fill="hold">
                                          <p:stCondLst>
                                            <p:cond delay="0"/>
                                          </p:stCondLst>
                                        </p:cTn>
                                        <p:tgtEl>
                                          <p:spTgt spid="183"/>
                                        </p:tgtEl>
                                        <p:attrNameLst>
                                          <p:attrName>style.visibility</p:attrName>
                                        </p:attrNameLst>
                                      </p:cBhvr>
                                      <p:to>
                                        <p:strVal val="visible"/>
                                      </p:to>
                                    </p:set>
                                    <p:anim calcmode="lin" valueType="num">
                                      <p:cBhvr>
                                        <p:cTn id="39" dur="500" fill="hold"/>
                                        <p:tgtEl>
                                          <p:spTgt spid="183"/>
                                        </p:tgtEl>
                                        <p:attrNameLst>
                                          <p:attrName>ppt_w</p:attrName>
                                        </p:attrNameLst>
                                      </p:cBhvr>
                                      <p:tavLst>
                                        <p:tav tm="0">
                                          <p:val>
                                            <p:fltVal val="0"/>
                                          </p:val>
                                        </p:tav>
                                        <p:tav tm="100000">
                                          <p:val>
                                            <p:strVal val="#ppt_w"/>
                                          </p:val>
                                        </p:tav>
                                      </p:tavLst>
                                    </p:anim>
                                    <p:anim calcmode="lin" valueType="num">
                                      <p:cBhvr>
                                        <p:cTn id="40" dur="500" fill="hold"/>
                                        <p:tgtEl>
                                          <p:spTgt spid="183"/>
                                        </p:tgtEl>
                                        <p:attrNameLst>
                                          <p:attrName>ppt_h</p:attrName>
                                        </p:attrNameLst>
                                      </p:cBhvr>
                                      <p:tavLst>
                                        <p:tav tm="0">
                                          <p:val>
                                            <p:fltVal val="0"/>
                                          </p:val>
                                        </p:tav>
                                        <p:tav tm="100000">
                                          <p:val>
                                            <p:strVal val="#ppt_h"/>
                                          </p:val>
                                        </p:tav>
                                      </p:tavLst>
                                    </p:anim>
                                  </p:childTnLst>
                                </p:cTn>
                              </p:par>
                            </p:childTnLst>
                          </p:cTn>
                        </p:par>
                      </p:childTnLst>
                    </p:cTn>
                  </p:par>
                  <p:par>
                    <p:cTn id="41" fill="hold">
                      <p:stCondLst>
                        <p:cond delay="indefinite"/>
                      </p:stCondLst>
                      <p:childTnLst>
                        <p:par>
                          <p:cTn id="42" fill="hold">
                            <p:stCondLst>
                              <p:cond delay="0"/>
                            </p:stCondLst>
                            <p:childTnLst>
                              <p:par>
                                <p:cTn id="43" presetID="53" presetClass="exit" presetSubtype="32" fill="hold" nodeType="clickEffect">
                                  <p:stCondLst>
                                    <p:cond delay="0"/>
                                  </p:stCondLst>
                                  <p:childTnLst>
                                    <p:anim calcmode="lin" valueType="num">
                                      <p:cBhvr>
                                        <p:cTn id="44" dur="500"/>
                                        <p:tgtEl>
                                          <p:spTgt spid="183"/>
                                        </p:tgtEl>
                                        <p:attrNameLst>
                                          <p:attrName>ppt_w</p:attrName>
                                        </p:attrNameLst>
                                      </p:cBhvr>
                                      <p:tavLst>
                                        <p:tav tm="0">
                                          <p:val>
                                            <p:strVal val="ppt_w"/>
                                          </p:val>
                                        </p:tav>
                                        <p:tav tm="100000">
                                          <p:val>
                                            <p:fltVal val="0"/>
                                          </p:val>
                                        </p:tav>
                                      </p:tavLst>
                                    </p:anim>
                                    <p:anim calcmode="lin" valueType="num">
                                      <p:cBhvr>
                                        <p:cTn id="45" dur="500"/>
                                        <p:tgtEl>
                                          <p:spTgt spid="183"/>
                                        </p:tgtEl>
                                        <p:attrNameLst>
                                          <p:attrName>ppt_h</p:attrName>
                                        </p:attrNameLst>
                                      </p:cBhvr>
                                      <p:tavLst>
                                        <p:tav tm="0">
                                          <p:val>
                                            <p:strVal val="ppt_h"/>
                                          </p:val>
                                        </p:tav>
                                        <p:tav tm="100000">
                                          <p:val>
                                            <p:fltVal val="0"/>
                                          </p:val>
                                        </p:tav>
                                      </p:tavLst>
                                    </p:anim>
                                    <p:animEffect transition="out" filter="fade">
                                      <p:cBhvr>
                                        <p:cTn id="46" dur="500"/>
                                        <p:tgtEl>
                                          <p:spTgt spid="183"/>
                                        </p:tgtEl>
                                      </p:cBhvr>
                                    </p:animEffect>
                                    <p:set>
                                      <p:cBhvr>
                                        <p:cTn id="47" dur="1" fill="hold">
                                          <p:stCondLst>
                                            <p:cond delay="499"/>
                                          </p:stCondLst>
                                        </p:cTn>
                                        <p:tgtEl>
                                          <p:spTgt spid="183"/>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53" presetClass="entr" presetSubtype="16" fill="hold" nodeType="clickEffect">
                                  <p:stCondLst>
                                    <p:cond delay="0"/>
                                  </p:stCondLst>
                                  <p:childTnLst>
                                    <p:set>
                                      <p:cBhvr>
                                        <p:cTn id="51" dur="1" fill="hold">
                                          <p:stCondLst>
                                            <p:cond delay="0"/>
                                          </p:stCondLst>
                                        </p:cTn>
                                        <p:tgtEl>
                                          <p:spTgt spid="81"/>
                                        </p:tgtEl>
                                        <p:attrNameLst>
                                          <p:attrName>style.visibility</p:attrName>
                                        </p:attrNameLst>
                                      </p:cBhvr>
                                      <p:to>
                                        <p:strVal val="visible"/>
                                      </p:to>
                                    </p:set>
                                    <p:anim calcmode="lin" valueType="num">
                                      <p:cBhvr>
                                        <p:cTn id="52" dur="500" fill="hold"/>
                                        <p:tgtEl>
                                          <p:spTgt spid="81"/>
                                        </p:tgtEl>
                                        <p:attrNameLst>
                                          <p:attrName>ppt_w</p:attrName>
                                        </p:attrNameLst>
                                      </p:cBhvr>
                                      <p:tavLst>
                                        <p:tav tm="0">
                                          <p:val>
                                            <p:fltVal val="0"/>
                                          </p:val>
                                        </p:tav>
                                        <p:tav tm="100000">
                                          <p:val>
                                            <p:strVal val="#ppt_w"/>
                                          </p:val>
                                        </p:tav>
                                      </p:tavLst>
                                    </p:anim>
                                    <p:anim calcmode="lin" valueType="num">
                                      <p:cBhvr>
                                        <p:cTn id="53" dur="500" fill="hold"/>
                                        <p:tgtEl>
                                          <p:spTgt spid="81"/>
                                        </p:tgtEl>
                                        <p:attrNameLst>
                                          <p:attrName>ppt_h</p:attrName>
                                        </p:attrNameLst>
                                      </p:cBhvr>
                                      <p:tavLst>
                                        <p:tav tm="0">
                                          <p:val>
                                            <p:fltVal val="0"/>
                                          </p:val>
                                        </p:tav>
                                        <p:tav tm="100000">
                                          <p:val>
                                            <p:strVal val="#ppt_h"/>
                                          </p:val>
                                        </p:tav>
                                      </p:tavLst>
                                    </p:anim>
                                    <p:animEffect transition="in" filter="fade">
                                      <p:cBhvr>
                                        <p:cTn id="54" dur="500"/>
                                        <p:tgtEl>
                                          <p:spTgt spid="81"/>
                                        </p:tgtEl>
                                      </p:cBhvr>
                                    </p:animEffect>
                                  </p:childTnLst>
                                </p:cTn>
                              </p:par>
                            </p:childTnLst>
                          </p:cTn>
                        </p:par>
                      </p:childTnLst>
                    </p:cTn>
                  </p:par>
                  <p:par>
                    <p:cTn id="55" fill="hold">
                      <p:stCondLst>
                        <p:cond delay="indefinite"/>
                      </p:stCondLst>
                      <p:childTnLst>
                        <p:par>
                          <p:cTn id="56" fill="hold">
                            <p:stCondLst>
                              <p:cond delay="0"/>
                            </p:stCondLst>
                            <p:childTnLst>
                              <p:par>
                                <p:cTn id="57" presetID="53" presetClass="exit" presetSubtype="32" fill="hold" nodeType="clickEffect">
                                  <p:stCondLst>
                                    <p:cond delay="0"/>
                                  </p:stCondLst>
                                  <p:childTnLst>
                                    <p:anim calcmode="lin" valueType="num">
                                      <p:cBhvr>
                                        <p:cTn id="58" dur="500"/>
                                        <p:tgtEl>
                                          <p:spTgt spid="81"/>
                                        </p:tgtEl>
                                        <p:attrNameLst>
                                          <p:attrName>ppt_w</p:attrName>
                                        </p:attrNameLst>
                                      </p:cBhvr>
                                      <p:tavLst>
                                        <p:tav tm="0">
                                          <p:val>
                                            <p:strVal val="ppt_w"/>
                                          </p:val>
                                        </p:tav>
                                        <p:tav tm="100000">
                                          <p:val>
                                            <p:fltVal val="0"/>
                                          </p:val>
                                        </p:tav>
                                      </p:tavLst>
                                    </p:anim>
                                    <p:anim calcmode="lin" valueType="num">
                                      <p:cBhvr>
                                        <p:cTn id="59" dur="500"/>
                                        <p:tgtEl>
                                          <p:spTgt spid="81"/>
                                        </p:tgtEl>
                                        <p:attrNameLst>
                                          <p:attrName>ppt_h</p:attrName>
                                        </p:attrNameLst>
                                      </p:cBhvr>
                                      <p:tavLst>
                                        <p:tav tm="0">
                                          <p:val>
                                            <p:strVal val="ppt_h"/>
                                          </p:val>
                                        </p:tav>
                                        <p:tav tm="100000">
                                          <p:val>
                                            <p:fltVal val="0"/>
                                          </p:val>
                                        </p:tav>
                                      </p:tavLst>
                                    </p:anim>
                                    <p:animEffect transition="out" filter="fade">
                                      <p:cBhvr>
                                        <p:cTn id="60" dur="500"/>
                                        <p:tgtEl>
                                          <p:spTgt spid="81"/>
                                        </p:tgtEl>
                                      </p:cBhvr>
                                    </p:animEffect>
                                    <p:set>
                                      <p:cBhvr>
                                        <p:cTn id="61" dur="1" fill="hold">
                                          <p:stCondLst>
                                            <p:cond delay="499"/>
                                          </p:stCondLst>
                                        </p:cTn>
                                        <p:tgtEl>
                                          <p:spTgt spid="81"/>
                                        </p:tgtEl>
                                        <p:attrNameLst>
                                          <p:attrName>style.visibility</p:attrName>
                                        </p:attrNameLst>
                                      </p:cBhvr>
                                      <p:to>
                                        <p:strVal val="hidden"/>
                                      </p:to>
                                    </p:set>
                                  </p:childTnLst>
                                </p:cTn>
                              </p:par>
                            </p:childTnLst>
                          </p:cTn>
                        </p:par>
                      </p:childTnLst>
                    </p:cTn>
                  </p:par>
                  <p:par>
                    <p:cTn id="62" fill="hold">
                      <p:stCondLst>
                        <p:cond delay="indefinite"/>
                      </p:stCondLst>
                      <p:childTnLst>
                        <p:par>
                          <p:cTn id="63" fill="hold">
                            <p:stCondLst>
                              <p:cond delay="0"/>
                            </p:stCondLst>
                            <p:childTnLst>
                              <p:par>
                                <p:cTn id="64" presetID="47" presetClass="entr" presetSubtype="0" fill="hold" nodeType="clickEffect">
                                  <p:stCondLst>
                                    <p:cond delay="0"/>
                                  </p:stCondLst>
                                  <p:childTnLst>
                                    <p:set>
                                      <p:cBhvr>
                                        <p:cTn id="65" dur="1" fill="hold">
                                          <p:stCondLst>
                                            <p:cond delay="0"/>
                                          </p:stCondLst>
                                        </p:cTn>
                                        <p:tgtEl>
                                          <p:spTgt spid="240"/>
                                        </p:tgtEl>
                                        <p:attrNameLst>
                                          <p:attrName>style.visibility</p:attrName>
                                        </p:attrNameLst>
                                      </p:cBhvr>
                                      <p:to>
                                        <p:strVal val="visible"/>
                                      </p:to>
                                    </p:set>
                                    <p:animEffect transition="in" filter="fade">
                                      <p:cBhvr>
                                        <p:cTn id="66" dur="1000"/>
                                        <p:tgtEl>
                                          <p:spTgt spid="240"/>
                                        </p:tgtEl>
                                      </p:cBhvr>
                                    </p:animEffect>
                                    <p:anim calcmode="lin" valueType="num">
                                      <p:cBhvr>
                                        <p:cTn id="67" dur="1000" fill="hold"/>
                                        <p:tgtEl>
                                          <p:spTgt spid="240"/>
                                        </p:tgtEl>
                                        <p:attrNameLst>
                                          <p:attrName>ppt_x</p:attrName>
                                        </p:attrNameLst>
                                      </p:cBhvr>
                                      <p:tavLst>
                                        <p:tav tm="0">
                                          <p:val>
                                            <p:strVal val="#ppt_x"/>
                                          </p:val>
                                        </p:tav>
                                        <p:tav tm="100000">
                                          <p:val>
                                            <p:strVal val="#ppt_x"/>
                                          </p:val>
                                        </p:tav>
                                      </p:tavLst>
                                    </p:anim>
                                    <p:anim calcmode="lin" valueType="num">
                                      <p:cBhvr>
                                        <p:cTn id="68" dur="1000" fill="hold"/>
                                        <p:tgtEl>
                                          <p:spTgt spid="240"/>
                                        </p:tgtEl>
                                        <p:attrNameLst>
                                          <p:attrName>ppt_y</p:attrName>
                                        </p:attrNameLst>
                                      </p:cBhvr>
                                      <p:tavLst>
                                        <p:tav tm="0">
                                          <p:val>
                                            <p:strVal val="#ppt_y-.1"/>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53" presetClass="entr" presetSubtype="16" fill="hold" nodeType="clickEffect">
                                  <p:stCondLst>
                                    <p:cond delay="0"/>
                                  </p:stCondLst>
                                  <p:childTnLst>
                                    <p:set>
                                      <p:cBhvr>
                                        <p:cTn id="72" dur="1" fill="hold">
                                          <p:stCondLst>
                                            <p:cond delay="0"/>
                                          </p:stCondLst>
                                        </p:cTn>
                                        <p:tgtEl>
                                          <p:spTgt spid="112"/>
                                        </p:tgtEl>
                                        <p:attrNameLst>
                                          <p:attrName>style.visibility</p:attrName>
                                        </p:attrNameLst>
                                      </p:cBhvr>
                                      <p:to>
                                        <p:strVal val="visible"/>
                                      </p:to>
                                    </p:set>
                                    <p:anim calcmode="lin" valueType="num">
                                      <p:cBhvr>
                                        <p:cTn id="73" dur="500" fill="hold"/>
                                        <p:tgtEl>
                                          <p:spTgt spid="112"/>
                                        </p:tgtEl>
                                        <p:attrNameLst>
                                          <p:attrName>ppt_w</p:attrName>
                                        </p:attrNameLst>
                                      </p:cBhvr>
                                      <p:tavLst>
                                        <p:tav tm="0">
                                          <p:val>
                                            <p:fltVal val="0"/>
                                          </p:val>
                                        </p:tav>
                                        <p:tav tm="100000">
                                          <p:val>
                                            <p:strVal val="#ppt_w"/>
                                          </p:val>
                                        </p:tav>
                                      </p:tavLst>
                                    </p:anim>
                                    <p:anim calcmode="lin" valueType="num">
                                      <p:cBhvr>
                                        <p:cTn id="74" dur="500" fill="hold"/>
                                        <p:tgtEl>
                                          <p:spTgt spid="112"/>
                                        </p:tgtEl>
                                        <p:attrNameLst>
                                          <p:attrName>ppt_h</p:attrName>
                                        </p:attrNameLst>
                                      </p:cBhvr>
                                      <p:tavLst>
                                        <p:tav tm="0">
                                          <p:val>
                                            <p:fltVal val="0"/>
                                          </p:val>
                                        </p:tav>
                                        <p:tav tm="100000">
                                          <p:val>
                                            <p:strVal val="#ppt_h"/>
                                          </p:val>
                                        </p:tav>
                                      </p:tavLst>
                                    </p:anim>
                                    <p:animEffect transition="in" filter="fade">
                                      <p:cBhvr>
                                        <p:cTn id="75" dur="500"/>
                                        <p:tgtEl>
                                          <p:spTgt spid="112"/>
                                        </p:tgtEl>
                                      </p:cBhvr>
                                    </p:animEffect>
                                  </p:childTnLst>
                                </p:cTn>
                              </p:par>
                            </p:childTnLst>
                          </p:cTn>
                        </p:par>
                      </p:childTnLst>
                    </p:cTn>
                  </p:par>
                  <p:par>
                    <p:cTn id="76" fill="hold">
                      <p:stCondLst>
                        <p:cond delay="indefinite"/>
                      </p:stCondLst>
                      <p:childTnLst>
                        <p:par>
                          <p:cTn id="77" fill="hold">
                            <p:stCondLst>
                              <p:cond delay="0"/>
                            </p:stCondLst>
                            <p:childTnLst>
                              <p:par>
                                <p:cTn id="78" presetID="53" presetClass="entr" presetSubtype="16" fill="hold" nodeType="clickEffect">
                                  <p:stCondLst>
                                    <p:cond delay="0"/>
                                  </p:stCondLst>
                                  <p:childTnLst>
                                    <p:set>
                                      <p:cBhvr>
                                        <p:cTn id="79" dur="1" fill="hold">
                                          <p:stCondLst>
                                            <p:cond delay="0"/>
                                          </p:stCondLst>
                                        </p:cTn>
                                        <p:tgtEl>
                                          <p:spTgt spid="113"/>
                                        </p:tgtEl>
                                        <p:attrNameLst>
                                          <p:attrName>style.visibility</p:attrName>
                                        </p:attrNameLst>
                                      </p:cBhvr>
                                      <p:to>
                                        <p:strVal val="visible"/>
                                      </p:to>
                                    </p:set>
                                    <p:anim calcmode="lin" valueType="num">
                                      <p:cBhvr>
                                        <p:cTn id="80" dur="500" fill="hold"/>
                                        <p:tgtEl>
                                          <p:spTgt spid="113"/>
                                        </p:tgtEl>
                                        <p:attrNameLst>
                                          <p:attrName>ppt_w</p:attrName>
                                        </p:attrNameLst>
                                      </p:cBhvr>
                                      <p:tavLst>
                                        <p:tav tm="0">
                                          <p:val>
                                            <p:fltVal val="0"/>
                                          </p:val>
                                        </p:tav>
                                        <p:tav tm="100000">
                                          <p:val>
                                            <p:strVal val="#ppt_w"/>
                                          </p:val>
                                        </p:tav>
                                      </p:tavLst>
                                    </p:anim>
                                    <p:anim calcmode="lin" valueType="num">
                                      <p:cBhvr>
                                        <p:cTn id="81" dur="500" fill="hold"/>
                                        <p:tgtEl>
                                          <p:spTgt spid="113"/>
                                        </p:tgtEl>
                                        <p:attrNameLst>
                                          <p:attrName>ppt_h</p:attrName>
                                        </p:attrNameLst>
                                      </p:cBhvr>
                                      <p:tavLst>
                                        <p:tav tm="0">
                                          <p:val>
                                            <p:fltVal val="0"/>
                                          </p:val>
                                        </p:tav>
                                        <p:tav tm="100000">
                                          <p:val>
                                            <p:strVal val="#ppt_h"/>
                                          </p:val>
                                        </p:tav>
                                      </p:tavLst>
                                    </p:anim>
                                    <p:animEffect transition="in" filter="fade">
                                      <p:cBhvr>
                                        <p:cTn id="82" dur="500"/>
                                        <p:tgtEl>
                                          <p:spTgt spid="113"/>
                                        </p:tgtEl>
                                      </p:cBhvr>
                                    </p:animEffect>
                                  </p:childTnLst>
                                </p:cTn>
                              </p:par>
                            </p:childTnLst>
                          </p:cTn>
                        </p:par>
                      </p:childTnLst>
                    </p:cTn>
                  </p:par>
                  <p:par>
                    <p:cTn id="83" fill="hold">
                      <p:stCondLst>
                        <p:cond delay="indefinite"/>
                      </p:stCondLst>
                      <p:childTnLst>
                        <p:par>
                          <p:cTn id="84" fill="hold">
                            <p:stCondLst>
                              <p:cond delay="0"/>
                            </p:stCondLst>
                            <p:childTnLst>
                              <p:par>
                                <p:cTn id="85" presetID="53" presetClass="entr" presetSubtype="16" fill="hold" nodeType="clickEffect">
                                  <p:stCondLst>
                                    <p:cond delay="0"/>
                                  </p:stCondLst>
                                  <p:childTnLst>
                                    <p:set>
                                      <p:cBhvr>
                                        <p:cTn id="86" dur="1" fill="hold">
                                          <p:stCondLst>
                                            <p:cond delay="0"/>
                                          </p:stCondLst>
                                        </p:cTn>
                                        <p:tgtEl>
                                          <p:spTgt spid="125"/>
                                        </p:tgtEl>
                                        <p:attrNameLst>
                                          <p:attrName>style.visibility</p:attrName>
                                        </p:attrNameLst>
                                      </p:cBhvr>
                                      <p:to>
                                        <p:strVal val="visible"/>
                                      </p:to>
                                    </p:set>
                                    <p:anim calcmode="lin" valueType="num">
                                      <p:cBhvr>
                                        <p:cTn id="87" dur="500" fill="hold"/>
                                        <p:tgtEl>
                                          <p:spTgt spid="125"/>
                                        </p:tgtEl>
                                        <p:attrNameLst>
                                          <p:attrName>ppt_w</p:attrName>
                                        </p:attrNameLst>
                                      </p:cBhvr>
                                      <p:tavLst>
                                        <p:tav tm="0">
                                          <p:val>
                                            <p:fltVal val="0"/>
                                          </p:val>
                                        </p:tav>
                                        <p:tav tm="100000">
                                          <p:val>
                                            <p:strVal val="#ppt_w"/>
                                          </p:val>
                                        </p:tav>
                                      </p:tavLst>
                                    </p:anim>
                                    <p:anim calcmode="lin" valueType="num">
                                      <p:cBhvr>
                                        <p:cTn id="88" dur="500" fill="hold"/>
                                        <p:tgtEl>
                                          <p:spTgt spid="125"/>
                                        </p:tgtEl>
                                        <p:attrNameLst>
                                          <p:attrName>ppt_h</p:attrName>
                                        </p:attrNameLst>
                                      </p:cBhvr>
                                      <p:tavLst>
                                        <p:tav tm="0">
                                          <p:val>
                                            <p:fltVal val="0"/>
                                          </p:val>
                                        </p:tav>
                                        <p:tav tm="100000">
                                          <p:val>
                                            <p:strVal val="#ppt_h"/>
                                          </p:val>
                                        </p:tav>
                                      </p:tavLst>
                                    </p:anim>
                                    <p:animEffect transition="in" filter="fade">
                                      <p:cBhvr>
                                        <p:cTn id="89" dur="500"/>
                                        <p:tgtEl>
                                          <p:spTgt spid="125"/>
                                        </p:tgtEl>
                                      </p:cBhvr>
                                    </p:animEffect>
                                  </p:childTnLst>
                                </p:cTn>
                              </p:par>
                            </p:childTnLst>
                          </p:cTn>
                        </p:par>
                      </p:childTnLst>
                    </p:cTn>
                  </p:par>
                  <p:par>
                    <p:cTn id="90" fill="hold">
                      <p:stCondLst>
                        <p:cond delay="indefinite"/>
                      </p:stCondLst>
                      <p:childTnLst>
                        <p:par>
                          <p:cTn id="91" fill="hold">
                            <p:stCondLst>
                              <p:cond delay="0"/>
                            </p:stCondLst>
                            <p:childTnLst>
                              <p:par>
                                <p:cTn id="92" presetID="47" presetClass="entr" presetSubtype="0" fill="hold" nodeType="clickEffect">
                                  <p:stCondLst>
                                    <p:cond delay="0"/>
                                  </p:stCondLst>
                                  <p:childTnLst>
                                    <p:set>
                                      <p:cBhvr>
                                        <p:cTn id="93" dur="1" fill="hold">
                                          <p:stCondLst>
                                            <p:cond delay="0"/>
                                          </p:stCondLst>
                                        </p:cTn>
                                        <p:tgtEl>
                                          <p:spTgt spid="38"/>
                                        </p:tgtEl>
                                        <p:attrNameLst>
                                          <p:attrName>style.visibility</p:attrName>
                                        </p:attrNameLst>
                                      </p:cBhvr>
                                      <p:to>
                                        <p:strVal val="visible"/>
                                      </p:to>
                                    </p:set>
                                    <p:animEffect transition="in" filter="fade">
                                      <p:cBhvr>
                                        <p:cTn id="94" dur="1000"/>
                                        <p:tgtEl>
                                          <p:spTgt spid="38"/>
                                        </p:tgtEl>
                                      </p:cBhvr>
                                    </p:animEffect>
                                    <p:anim calcmode="lin" valueType="num">
                                      <p:cBhvr>
                                        <p:cTn id="95" dur="1000" fill="hold"/>
                                        <p:tgtEl>
                                          <p:spTgt spid="38"/>
                                        </p:tgtEl>
                                        <p:attrNameLst>
                                          <p:attrName>ppt_x</p:attrName>
                                        </p:attrNameLst>
                                      </p:cBhvr>
                                      <p:tavLst>
                                        <p:tav tm="0">
                                          <p:val>
                                            <p:strVal val="#ppt_x"/>
                                          </p:val>
                                        </p:tav>
                                        <p:tav tm="100000">
                                          <p:val>
                                            <p:strVal val="#ppt_x"/>
                                          </p:val>
                                        </p:tav>
                                      </p:tavLst>
                                    </p:anim>
                                    <p:anim calcmode="lin" valueType="num">
                                      <p:cBhvr>
                                        <p:cTn id="96"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53" presetClass="entr" presetSubtype="16" fill="hold" nodeType="clickEffect">
                                  <p:stCondLst>
                                    <p:cond delay="0"/>
                                  </p:stCondLst>
                                  <p:childTnLst>
                                    <p:set>
                                      <p:cBhvr>
                                        <p:cTn id="100" dur="1" fill="hold">
                                          <p:stCondLst>
                                            <p:cond delay="0"/>
                                          </p:stCondLst>
                                        </p:cTn>
                                        <p:tgtEl>
                                          <p:spTgt spid="241"/>
                                        </p:tgtEl>
                                        <p:attrNameLst>
                                          <p:attrName>style.visibility</p:attrName>
                                        </p:attrNameLst>
                                      </p:cBhvr>
                                      <p:to>
                                        <p:strVal val="visible"/>
                                      </p:to>
                                    </p:set>
                                    <p:anim calcmode="lin" valueType="num">
                                      <p:cBhvr>
                                        <p:cTn id="101" dur="500" fill="hold"/>
                                        <p:tgtEl>
                                          <p:spTgt spid="241"/>
                                        </p:tgtEl>
                                        <p:attrNameLst>
                                          <p:attrName>ppt_w</p:attrName>
                                        </p:attrNameLst>
                                      </p:cBhvr>
                                      <p:tavLst>
                                        <p:tav tm="0">
                                          <p:val>
                                            <p:fltVal val="0"/>
                                          </p:val>
                                        </p:tav>
                                        <p:tav tm="100000">
                                          <p:val>
                                            <p:strVal val="#ppt_w"/>
                                          </p:val>
                                        </p:tav>
                                      </p:tavLst>
                                    </p:anim>
                                    <p:anim calcmode="lin" valueType="num">
                                      <p:cBhvr>
                                        <p:cTn id="102" dur="500" fill="hold"/>
                                        <p:tgtEl>
                                          <p:spTgt spid="241"/>
                                        </p:tgtEl>
                                        <p:attrNameLst>
                                          <p:attrName>ppt_h</p:attrName>
                                        </p:attrNameLst>
                                      </p:cBhvr>
                                      <p:tavLst>
                                        <p:tav tm="0">
                                          <p:val>
                                            <p:fltVal val="0"/>
                                          </p:val>
                                        </p:tav>
                                        <p:tav tm="100000">
                                          <p:val>
                                            <p:strVal val="#ppt_h"/>
                                          </p:val>
                                        </p:tav>
                                      </p:tavLst>
                                    </p:anim>
                                    <p:animEffect transition="in" filter="fade">
                                      <p:cBhvr>
                                        <p:cTn id="103" dur="500"/>
                                        <p:tgtEl>
                                          <p:spTgt spid="241"/>
                                        </p:tgtEl>
                                      </p:cBhvr>
                                    </p:animEffect>
                                  </p:childTnLst>
                                </p:cTn>
                              </p:par>
                            </p:childTnLst>
                          </p:cTn>
                        </p:par>
                      </p:childTnLst>
                    </p:cTn>
                  </p:par>
                  <p:par>
                    <p:cTn id="104" fill="hold">
                      <p:stCondLst>
                        <p:cond delay="indefinite"/>
                      </p:stCondLst>
                      <p:childTnLst>
                        <p:par>
                          <p:cTn id="105" fill="hold">
                            <p:stCondLst>
                              <p:cond delay="0"/>
                            </p:stCondLst>
                            <p:childTnLst>
                              <p:par>
                                <p:cTn id="106" presetID="53" presetClass="entr" presetSubtype="16" fill="hold" nodeType="clickEffect">
                                  <p:stCondLst>
                                    <p:cond delay="0"/>
                                  </p:stCondLst>
                                  <p:childTnLst>
                                    <p:set>
                                      <p:cBhvr>
                                        <p:cTn id="107" dur="1" fill="hold">
                                          <p:stCondLst>
                                            <p:cond delay="0"/>
                                          </p:stCondLst>
                                        </p:cTn>
                                        <p:tgtEl>
                                          <p:spTgt spid="242"/>
                                        </p:tgtEl>
                                        <p:attrNameLst>
                                          <p:attrName>style.visibility</p:attrName>
                                        </p:attrNameLst>
                                      </p:cBhvr>
                                      <p:to>
                                        <p:strVal val="visible"/>
                                      </p:to>
                                    </p:set>
                                    <p:anim calcmode="lin" valueType="num">
                                      <p:cBhvr>
                                        <p:cTn id="108" dur="500" fill="hold"/>
                                        <p:tgtEl>
                                          <p:spTgt spid="242"/>
                                        </p:tgtEl>
                                        <p:attrNameLst>
                                          <p:attrName>ppt_w</p:attrName>
                                        </p:attrNameLst>
                                      </p:cBhvr>
                                      <p:tavLst>
                                        <p:tav tm="0">
                                          <p:val>
                                            <p:fltVal val="0"/>
                                          </p:val>
                                        </p:tav>
                                        <p:tav tm="100000">
                                          <p:val>
                                            <p:strVal val="#ppt_w"/>
                                          </p:val>
                                        </p:tav>
                                      </p:tavLst>
                                    </p:anim>
                                    <p:anim calcmode="lin" valueType="num">
                                      <p:cBhvr>
                                        <p:cTn id="109" dur="500" fill="hold"/>
                                        <p:tgtEl>
                                          <p:spTgt spid="242"/>
                                        </p:tgtEl>
                                        <p:attrNameLst>
                                          <p:attrName>ppt_h</p:attrName>
                                        </p:attrNameLst>
                                      </p:cBhvr>
                                      <p:tavLst>
                                        <p:tav tm="0">
                                          <p:val>
                                            <p:fltVal val="0"/>
                                          </p:val>
                                        </p:tav>
                                        <p:tav tm="100000">
                                          <p:val>
                                            <p:strVal val="#ppt_h"/>
                                          </p:val>
                                        </p:tav>
                                      </p:tavLst>
                                    </p:anim>
                                    <p:animEffect transition="in" filter="fade">
                                      <p:cBhvr>
                                        <p:cTn id="110" dur="500"/>
                                        <p:tgtEl>
                                          <p:spTgt spid="242"/>
                                        </p:tgtEl>
                                      </p:cBhvr>
                                    </p:animEffect>
                                  </p:childTnLst>
                                </p:cTn>
                              </p:par>
                            </p:childTnLst>
                          </p:cTn>
                        </p:par>
                      </p:childTnLst>
                    </p:cTn>
                  </p:par>
                  <p:par>
                    <p:cTn id="111" fill="hold">
                      <p:stCondLst>
                        <p:cond delay="indefinite"/>
                      </p:stCondLst>
                      <p:childTnLst>
                        <p:par>
                          <p:cTn id="112" fill="hold">
                            <p:stCondLst>
                              <p:cond delay="0"/>
                            </p:stCondLst>
                            <p:childTnLst>
                              <p:par>
                                <p:cTn id="113" presetID="53" presetClass="entr" presetSubtype="16" fill="hold" nodeType="clickEffect">
                                  <p:stCondLst>
                                    <p:cond delay="0"/>
                                  </p:stCondLst>
                                  <p:childTnLst>
                                    <p:set>
                                      <p:cBhvr>
                                        <p:cTn id="114" dur="1" fill="hold">
                                          <p:stCondLst>
                                            <p:cond delay="0"/>
                                          </p:stCondLst>
                                        </p:cTn>
                                        <p:tgtEl>
                                          <p:spTgt spid="243"/>
                                        </p:tgtEl>
                                        <p:attrNameLst>
                                          <p:attrName>style.visibility</p:attrName>
                                        </p:attrNameLst>
                                      </p:cBhvr>
                                      <p:to>
                                        <p:strVal val="visible"/>
                                      </p:to>
                                    </p:set>
                                    <p:anim calcmode="lin" valueType="num">
                                      <p:cBhvr>
                                        <p:cTn id="115" dur="500" fill="hold"/>
                                        <p:tgtEl>
                                          <p:spTgt spid="243"/>
                                        </p:tgtEl>
                                        <p:attrNameLst>
                                          <p:attrName>ppt_w</p:attrName>
                                        </p:attrNameLst>
                                      </p:cBhvr>
                                      <p:tavLst>
                                        <p:tav tm="0">
                                          <p:val>
                                            <p:fltVal val="0"/>
                                          </p:val>
                                        </p:tav>
                                        <p:tav tm="100000">
                                          <p:val>
                                            <p:strVal val="#ppt_w"/>
                                          </p:val>
                                        </p:tav>
                                      </p:tavLst>
                                    </p:anim>
                                    <p:anim calcmode="lin" valueType="num">
                                      <p:cBhvr>
                                        <p:cTn id="116" dur="500" fill="hold"/>
                                        <p:tgtEl>
                                          <p:spTgt spid="243"/>
                                        </p:tgtEl>
                                        <p:attrNameLst>
                                          <p:attrName>ppt_h</p:attrName>
                                        </p:attrNameLst>
                                      </p:cBhvr>
                                      <p:tavLst>
                                        <p:tav tm="0">
                                          <p:val>
                                            <p:fltVal val="0"/>
                                          </p:val>
                                        </p:tav>
                                        <p:tav tm="100000">
                                          <p:val>
                                            <p:strVal val="#ppt_h"/>
                                          </p:val>
                                        </p:tav>
                                      </p:tavLst>
                                    </p:anim>
                                    <p:animEffect transition="in" filter="fade">
                                      <p:cBhvr>
                                        <p:cTn id="117" dur="500"/>
                                        <p:tgtEl>
                                          <p:spTgt spid="243"/>
                                        </p:tgtEl>
                                      </p:cBhvr>
                                    </p:animEffect>
                                  </p:childTnLst>
                                </p:cTn>
                              </p:par>
                            </p:childTnLst>
                          </p:cTn>
                        </p:par>
                      </p:childTnLst>
                    </p:cTn>
                  </p:par>
                  <p:par>
                    <p:cTn id="118" fill="hold">
                      <p:stCondLst>
                        <p:cond delay="indefinite"/>
                      </p:stCondLst>
                      <p:childTnLst>
                        <p:par>
                          <p:cTn id="119" fill="hold">
                            <p:stCondLst>
                              <p:cond delay="0"/>
                            </p:stCondLst>
                            <p:childTnLst>
                              <p:par>
                                <p:cTn id="120" presetID="53" presetClass="entr" presetSubtype="16" fill="hold" nodeType="clickEffect">
                                  <p:stCondLst>
                                    <p:cond delay="0"/>
                                  </p:stCondLst>
                                  <p:childTnLst>
                                    <p:set>
                                      <p:cBhvr>
                                        <p:cTn id="121" dur="1" fill="hold">
                                          <p:stCondLst>
                                            <p:cond delay="0"/>
                                          </p:stCondLst>
                                        </p:cTn>
                                        <p:tgtEl>
                                          <p:spTgt spid="244"/>
                                        </p:tgtEl>
                                        <p:attrNameLst>
                                          <p:attrName>style.visibility</p:attrName>
                                        </p:attrNameLst>
                                      </p:cBhvr>
                                      <p:to>
                                        <p:strVal val="visible"/>
                                      </p:to>
                                    </p:set>
                                    <p:anim calcmode="lin" valueType="num">
                                      <p:cBhvr>
                                        <p:cTn id="122" dur="500" fill="hold"/>
                                        <p:tgtEl>
                                          <p:spTgt spid="244"/>
                                        </p:tgtEl>
                                        <p:attrNameLst>
                                          <p:attrName>ppt_w</p:attrName>
                                        </p:attrNameLst>
                                      </p:cBhvr>
                                      <p:tavLst>
                                        <p:tav tm="0">
                                          <p:val>
                                            <p:fltVal val="0"/>
                                          </p:val>
                                        </p:tav>
                                        <p:tav tm="100000">
                                          <p:val>
                                            <p:strVal val="#ppt_w"/>
                                          </p:val>
                                        </p:tav>
                                      </p:tavLst>
                                    </p:anim>
                                    <p:anim calcmode="lin" valueType="num">
                                      <p:cBhvr>
                                        <p:cTn id="123" dur="500" fill="hold"/>
                                        <p:tgtEl>
                                          <p:spTgt spid="244"/>
                                        </p:tgtEl>
                                        <p:attrNameLst>
                                          <p:attrName>ppt_h</p:attrName>
                                        </p:attrNameLst>
                                      </p:cBhvr>
                                      <p:tavLst>
                                        <p:tav tm="0">
                                          <p:val>
                                            <p:fltVal val="0"/>
                                          </p:val>
                                        </p:tav>
                                        <p:tav tm="100000">
                                          <p:val>
                                            <p:strVal val="#ppt_h"/>
                                          </p:val>
                                        </p:tav>
                                      </p:tavLst>
                                    </p:anim>
                                    <p:animEffect transition="in" filter="fade">
                                      <p:cBhvr>
                                        <p:cTn id="124" dur="500"/>
                                        <p:tgtEl>
                                          <p:spTgt spid="244"/>
                                        </p:tgtEl>
                                      </p:cBhvr>
                                    </p:animEffect>
                                  </p:childTnLst>
                                </p:cTn>
                              </p:par>
                            </p:childTnLst>
                          </p:cTn>
                        </p:par>
                      </p:childTnLst>
                    </p:cTn>
                  </p:par>
                  <p:par>
                    <p:cTn id="125" fill="hold">
                      <p:stCondLst>
                        <p:cond delay="indefinite"/>
                      </p:stCondLst>
                      <p:childTnLst>
                        <p:par>
                          <p:cTn id="126" fill="hold">
                            <p:stCondLst>
                              <p:cond delay="0"/>
                            </p:stCondLst>
                            <p:childTnLst>
                              <p:par>
                                <p:cTn id="127" presetID="53" presetClass="entr" presetSubtype="16" fill="hold" nodeType="clickEffect">
                                  <p:stCondLst>
                                    <p:cond delay="0"/>
                                  </p:stCondLst>
                                  <p:childTnLst>
                                    <p:set>
                                      <p:cBhvr>
                                        <p:cTn id="128" dur="1" fill="hold">
                                          <p:stCondLst>
                                            <p:cond delay="0"/>
                                          </p:stCondLst>
                                        </p:cTn>
                                        <p:tgtEl>
                                          <p:spTgt spid="245"/>
                                        </p:tgtEl>
                                        <p:attrNameLst>
                                          <p:attrName>style.visibility</p:attrName>
                                        </p:attrNameLst>
                                      </p:cBhvr>
                                      <p:to>
                                        <p:strVal val="visible"/>
                                      </p:to>
                                    </p:set>
                                    <p:anim calcmode="lin" valueType="num">
                                      <p:cBhvr>
                                        <p:cTn id="129" dur="500" fill="hold"/>
                                        <p:tgtEl>
                                          <p:spTgt spid="245"/>
                                        </p:tgtEl>
                                        <p:attrNameLst>
                                          <p:attrName>ppt_w</p:attrName>
                                        </p:attrNameLst>
                                      </p:cBhvr>
                                      <p:tavLst>
                                        <p:tav tm="0">
                                          <p:val>
                                            <p:fltVal val="0"/>
                                          </p:val>
                                        </p:tav>
                                        <p:tav tm="100000">
                                          <p:val>
                                            <p:strVal val="#ppt_w"/>
                                          </p:val>
                                        </p:tav>
                                      </p:tavLst>
                                    </p:anim>
                                    <p:anim calcmode="lin" valueType="num">
                                      <p:cBhvr>
                                        <p:cTn id="130" dur="500" fill="hold"/>
                                        <p:tgtEl>
                                          <p:spTgt spid="245"/>
                                        </p:tgtEl>
                                        <p:attrNameLst>
                                          <p:attrName>ppt_h</p:attrName>
                                        </p:attrNameLst>
                                      </p:cBhvr>
                                      <p:tavLst>
                                        <p:tav tm="0">
                                          <p:val>
                                            <p:fltVal val="0"/>
                                          </p:val>
                                        </p:tav>
                                        <p:tav tm="100000">
                                          <p:val>
                                            <p:strVal val="#ppt_h"/>
                                          </p:val>
                                        </p:tav>
                                      </p:tavLst>
                                    </p:anim>
                                    <p:animEffect transition="in" filter="fade">
                                      <p:cBhvr>
                                        <p:cTn id="131" dur="500"/>
                                        <p:tgtEl>
                                          <p:spTgt spid="2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e 4">
            <a:extLst>
              <a:ext uri="{FF2B5EF4-FFF2-40B4-BE49-F238E27FC236}">
                <a16:creationId xmlns:a16="http://schemas.microsoft.com/office/drawing/2014/main" id="{9ED353F4-5B86-4B1C-A9E9-3BCA1D6ECA5E}"/>
              </a:ext>
            </a:extLst>
          </p:cNvPr>
          <p:cNvGrpSpPr/>
          <p:nvPr/>
        </p:nvGrpSpPr>
        <p:grpSpPr>
          <a:xfrm>
            <a:off x="4799856" y="972108"/>
            <a:ext cx="1742609" cy="190500"/>
            <a:chOff x="5378756" y="878988"/>
            <a:chExt cx="1742609" cy="190500"/>
          </a:xfrm>
        </p:grpSpPr>
        <p:sp>
          <p:nvSpPr>
            <p:cNvPr id="6" name="Oval 5">
              <a:extLst>
                <a:ext uri="{FF2B5EF4-FFF2-40B4-BE49-F238E27FC236}">
                  <a16:creationId xmlns:a16="http://schemas.microsoft.com/office/drawing/2014/main" id="{A1BE9765-B79A-4E7C-A839-8B6152A12465}"/>
                </a:ext>
              </a:extLst>
            </p:cNvPr>
            <p:cNvSpPr/>
            <p:nvPr/>
          </p:nvSpPr>
          <p:spPr>
            <a:xfrm>
              <a:off x="5378756" y="878988"/>
              <a:ext cx="190500" cy="1905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447C5195-242B-43AB-9B0F-2310D66F5DAB}"/>
                </a:ext>
              </a:extLst>
            </p:cNvPr>
            <p:cNvSpPr/>
            <p:nvPr/>
          </p:nvSpPr>
          <p:spPr>
            <a:xfrm>
              <a:off x="5689906" y="878988"/>
              <a:ext cx="190500" cy="1905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B9241211-6E43-4595-B3D3-65373D0B1050}"/>
                </a:ext>
              </a:extLst>
            </p:cNvPr>
            <p:cNvSpPr/>
            <p:nvPr/>
          </p:nvSpPr>
          <p:spPr>
            <a:xfrm>
              <a:off x="6000692" y="878988"/>
              <a:ext cx="190500" cy="1905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2D2DA82B-09BD-438B-836E-558CAD75001C}"/>
                </a:ext>
              </a:extLst>
            </p:cNvPr>
            <p:cNvSpPr/>
            <p:nvPr/>
          </p:nvSpPr>
          <p:spPr>
            <a:xfrm>
              <a:off x="6311478" y="878988"/>
              <a:ext cx="190500" cy="190500"/>
            </a:xfrm>
            <a:prstGeom prst="ellipse">
              <a:avLst/>
            </a:prstGeom>
            <a:solidFill>
              <a:srgbClr val="F723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9A0AC1B6-0101-4F47-9276-88E85740FB1F}"/>
                </a:ext>
              </a:extLst>
            </p:cNvPr>
            <p:cNvSpPr/>
            <p:nvPr/>
          </p:nvSpPr>
          <p:spPr>
            <a:xfrm>
              <a:off x="6622745" y="878988"/>
              <a:ext cx="190500" cy="1905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9">
              <a:extLst>
                <a:ext uri="{FF2B5EF4-FFF2-40B4-BE49-F238E27FC236}">
                  <a16:creationId xmlns:a16="http://schemas.microsoft.com/office/drawing/2014/main" id="{8B29AA7E-FB3E-4ED7-B07E-173454262D4B}"/>
                </a:ext>
              </a:extLst>
            </p:cNvPr>
            <p:cNvSpPr/>
            <p:nvPr/>
          </p:nvSpPr>
          <p:spPr>
            <a:xfrm>
              <a:off x="6930865" y="878988"/>
              <a:ext cx="190500" cy="190500"/>
            </a:xfrm>
            <a:prstGeom prst="ellipse">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CALMS">
            <a:extLst>
              <a:ext uri="{FF2B5EF4-FFF2-40B4-BE49-F238E27FC236}">
                <a16:creationId xmlns:a16="http://schemas.microsoft.com/office/drawing/2014/main" id="{2917F158-AE2A-4FB4-9B71-F6E9BDA2C867}"/>
              </a:ext>
            </a:extLst>
          </p:cNvPr>
          <p:cNvSpPr txBox="1"/>
          <p:nvPr/>
        </p:nvSpPr>
        <p:spPr>
          <a:xfrm>
            <a:off x="-172922" y="116632"/>
            <a:ext cx="12191999" cy="707886"/>
          </a:xfrm>
          <a:prstGeom prst="rect">
            <a:avLst/>
          </a:prstGeom>
          <a:noFill/>
          <a:ln>
            <a:noFill/>
          </a:ln>
        </p:spPr>
        <p:txBody>
          <a:bodyPr wrap="square" rtlCol="0">
            <a:spAutoFit/>
          </a:bodyPr>
          <a:lstStyle/>
          <a:p>
            <a:pPr algn="ctr"/>
            <a:r>
              <a:rPr lang="en-US" sz="4000" dirty="0">
                <a:solidFill>
                  <a:schemeClr val="bg1">
                    <a:lumMod val="65000"/>
                  </a:schemeClr>
                </a:solidFill>
                <a:latin typeface="Tw Cen MT" panose="020B0602020104020603" pitchFamily="34" charset="0"/>
              </a:rPr>
              <a:t>N o t r e  P r o p o s </a:t>
            </a:r>
            <a:r>
              <a:rPr lang="en-US" sz="4000" dirty="0" err="1">
                <a:solidFill>
                  <a:schemeClr val="bg1">
                    <a:lumMod val="65000"/>
                  </a:schemeClr>
                </a:solidFill>
                <a:latin typeface="Tw Cen MT" panose="020B0602020104020603" pitchFamily="34" charset="0"/>
              </a:rPr>
              <a:t>i</a:t>
            </a:r>
            <a:r>
              <a:rPr lang="en-US" sz="4000" dirty="0">
                <a:solidFill>
                  <a:schemeClr val="bg1">
                    <a:lumMod val="65000"/>
                  </a:schemeClr>
                </a:solidFill>
                <a:latin typeface="Tw Cen MT" panose="020B0602020104020603" pitchFamily="34" charset="0"/>
              </a:rPr>
              <a:t> t </a:t>
            </a:r>
            <a:r>
              <a:rPr lang="en-US" sz="4000" dirty="0" err="1">
                <a:solidFill>
                  <a:schemeClr val="bg1">
                    <a:lumMod val="65000"/>
                  </a:schemeClr>
                </a:solidFill>
                <a:latin typeface="Tw Cen MT" panose="020B0602020104020603" pitchFamily="34" charset="0"/>
              </a:rPr>
              <a:t>i</a:t>
            </a:r>
            <a:r>
              <a:rPr lang="en-US" sz="4000" dirty="0">
                <a:solidFill>
                  <a:schemeClr val="bg1">
                    <a:lumMod val="65000"/>
                  </a:schemeClr>
                </a:solidFill>
                <a:latin typeface="Tw Cen MT" panose="020B0602020104020603" pitchFamily="34" charset="0"/>
              </a:rPr>
              <a:t> o n</a:t>
            </a:r>
          </a:p>
        </p:txBody>
      </p:sp>
      <p:graphicFrame>
        <p:nvGraphicFramePr>
          <p:cNvPr id="2" name="Tableau 2">
            <a:extLst>
              <a:ext uri="{FF2B5EF4-FFF2-40B4-BE49-F238E27FC236}">
                <a16:creationId xmlns:a16="http://schemas.microsoft.com/office/drawing/2014/main" id="{50280D4E-0059-440D-A355-E63772B93A4B}"/>
              </a:ext>
            </a:extLst>
          </p:cNvPr>
          <p:cNvGraphicFramePr>
            <a:graphicFrameLocks noGrp="1"/>
          </p:cNvGraphicFramePr>
          <p:nvPr>
            <p:extLst>
              <p:ext uri="{D42A27DB-BD31-4B8C-83A1-F6EECF244321}">
                <p14:modId xmlns:p14="http://schemas.microsoft.com/office/powerpoint/2010/main" val="1212587437"/>
              </p:ext>
            </p:extLst>
          </p:nvPr>
        </p:nvGraphicFramePr>
        <p:xfrm>
          <a:off x="227831" y="1771234"/>
          <a:ext cx="11147765" cy="1849218"/>
        </p:xfrm>
        <a:graphic>
          <a:graphicData uri="http://schemas.openxmlformats.org/drawingml/2006/table">
            <a:tbl>
              <a:tblPr firstRow="1" bandRow="1">
                <a:effectLst/>
                <a:tableStyleId>{5C22544A-7EE6-4342-B048-85BDC9FD1C3A}</a:tableStyleId>
              </a:tblPr>
              <a:tblGrid>
                <a:gridCol w="3436400">
                  <a:extLst>
                    <a:ext uri="{9D8B030D-6E8A-4147-A177-3AD203B41FA5}">
                      <a16:colId xmlns:a16="http://schemas.microsoft.com/office/drawing/2014/main" val="2213780991"/>
                    </a:ext>
                  </a:extLst>
                </a:gridCol>
                <a:gridCol w="530546">
                  <a:extLst>
                    <a:ext uri="{9D8B030D-6E8A-4147-A177-3AD203B41FA5}">
                      <a16:colId xmlns:a16="http://schemas.microsoft.com/office/drawing/2014/main" val="2522923624"/>
                    </a:ext>
                  </a:extLst>
                </a:gridCol>
                <a:gridCol w="556687">
                  <a:extLst>
                    <a:ext uri="{9D8B030D-6E8A-4147-A177-3AD203B41FA5}">
                      <a16:colId xmlns:a16="http://schemas.microsoft.com/office/drawing/2014/main" val="3907755262"/>
                    </a:ext>
                  </a:extLst>
                </a:gridCol>
                <a:gridCol w="540544">
                  <a:extLst>
                    <a:ext uri="{9D8B030D-6E8A-4147-A177-3AD203B41FA5}">
                      <a16:colId xmlns:a16="http://schemas.microsoft.com/office/drawing/2014/main" val="979553509"/>
                    </a:ext>
                  </a:extLst>
                </a:gridCol>
                <a:gridCol w="540544">
                  <a:extLst>
                    <a:ext uri="{9D8B030D-6E8A-4147-A177-3AD203B41FA5}">
                      <a16:colId xmlns:a16="http://schemas.microsoft.com/office/drawing/2014/main" val="3688410030"/>
                    </a:ext>
                  </a:extLst>
                </a:gridCol>
                <a:gridCol w="540544">
                  <a:extLst>
                    <a:ext uri="{9D8B030D-6E8A-4147-A177-3AD203B41FA5}">
                      <a16:colId xmlns:a16="http://schemas.microsoft.com/office/drawing/2014/main" val="2517173311"/>
                    </a:ext>
                  </a:extLst>
                </a:gridCol>
                <a:gridCol w="636636">
                  <a:extLst>
                    <a:ext uri="{9D8B030D-6E8A-4147-A177-3AD203B41FA5}">
                      <a16:colId xmlns:a16="http://schemas.microsoft.com/office/drawing/2014/main" val="1044732407"/>
                    </a:ext>
                  </a:extLst>
                </a:gridCol>
                <a:gridCol w="636636">
                  <a:extLst>
                    <a:ext uri="{9D8B030D-6E8A-4147-A177-3AD203B41FA5}">
                      <a16:colId xmlns:a16="http://schemas.microsoft.com/office/drawing/2014/main" val="583775387"/>
                    </a:ext>
                  </a:extLst>
                </a:gridCol>
                <a:gridCol w="636636">
                  <a:extLst>
                    <a:ext uri="{9D8B030D-6E8A-4147-A177-3AD203B41FA5}">
                      <a16:colId xmlns:a16="http://schemas.microsoft.com/office/drawing/2014/main" val="2056001090"/>
                    </a:ext>
                  </a:extLst>
                </a:gridCol>
                <a:gridCol w="636636">
                  <a:extLst>
                    <a:ext uri="{9D8B030D-6E8A-4147-A177-3AD203B41FA5}">
                      <a16:colId xmlns:a16="http://schemas.microsoft.com/office/drawing/2014/main" val="1067703226"/>
                    </a:ext>
                  </a:extLst>
                </a:gridCol>
                <a:gridCol w="577954">
                  <a:extLst>
                    <a:ext uri="{9D8B030D-6E8A-4147-A177-3AD203B41FA5}">
                      <a16:colId xmlns:a16="http://schemas.microsoft.com/office/drawing/2014/main" val="2500458108"/>
                    </a:ext>
                  </a:extLst>
                </a:gridCol>
                <a:gridCol w="618969">
                  <a:extLst>
                    <a:ext uri="{9D8B030D-6E8A-4147-A177-3AD203B41FA5}">
                      <a16:colId xmlns:a16="http://schemas.microsoft.com/office/drawing/2014/main" val="672963143"/>
                    </a:ext>
                  </a:extLst>
                </a:gridCol>
                <a:gridCol w="622397">
                  <a:extLst>
                    <a:ext uri="{9D8B030D-6E8A-4147-A177-3AD203B41FA5}">
                      <a16:colId xmlns:a16="http://schemas.microsoft.com/office/drawing/2014/main" val="2718605067"/>
                    </a:ext>
                  </a:extLst>
                </a:gridCol>
                <a:gridCol w="636636">
                  <a:extLst>
                    <a:ext uri="{9D8B030D-6E8A-4147-A177-3AD203B41FA5}">
                      <a16:colId xmlns:a16="http://schemas.microsoft.com/office/drawing/2014/main" val="3851862268"/>
                    </a:ext>
                  </a:extLst>
                </a:gridCol>
              </a:tblGrid>
              <a:tr h="376155">
                <a:tc>
                  <a:txBody>
                    <a:bodyPr/>
                    <a:lstStyle/>
                    <a:p>
                      <a:pPr marL="0" algn="l" defTabSz="914400" rtl="0" eaLnBrk="1" latinLnBrk="0" hangingPunct="1"/>
                      <a:r>
                        <a:rPr lang="fr-FR" sz="1600" b="0" kern="1200" dirty="0">
                          <a:solidFill>
                            <a:schemeClr val="tx1">
                              <a:lumMod val="75000"/>
                              <a:lumOff val="25000"/>
                            </a:schemeClr>
                          </a:solidFill>
                          <a:latin typeface="Tw Cen MT" panose="020B0602020104020603" pitchFamily="34" charset="0"/>
                          <a:ea typeface="+mn-ea"/>
                          <a:cs typeface="+mn-cs"/>
                        </a:rPr>
                        <a:t>      </a:t>
                      </a:r>
                      <a:r>
                        <a:rPr lang="fr-FR" sz="1600" b="1" kern="1200" dirty="0">
                          <a:solidFill>
                            <a:schemeClr val="tx1">
                              <a:lumMod val="75000"/>
                              <a:lumOff val="25000"/>
                            </a:schemeClr>
                          </a:solidFill>
                          <a:latin typeface="Tw Cen MT" panose="020B0602020104020603" pitchFamily="34" charset="0"/>
                          <a:ea typeface="+mn-ea"/>
                          <a:cs typeface="+mn-cs"/>
                        </a:rPr>
                        <a:t>A V A N T  P R O J E T</a:t>
                      </a:r>
                    </a:p>
                  </a:txBody>
                  <a:tcPr>
                    <a:solidFill>
                      <a:schemeClr val="accent2">
                        <a:lumMod val="40000"/>
                        <a:lumOff val="60000"/>
                      </a:schemeClr>
                    </a:solidFill>
                  </a:tcPr>
                </a:tc>
                <a:tc gridSpan="13">
                  <a:txBody>
                    <a:bodyPr/>
                    <a:lstStyle/>
                    <a:p>
                      <a:endParaRPr lang="fr-FR" sz="1600" dirty="0"/>
                    </a:p>
                  </a:txBody>
                  <a:tcPr>
                    <a:solidFill>
                      <a:schemeClr val="accent2">
                        <a:lumMod val="40000"/>
                        <a:lumOff val="60000"/>
                      </a:schemeClr>
                    </a:solidFill>
                  </a:tcPr>
                </a:tc>
                <a:tc hMerge="1">
                  <a:txBody>
                    <a:bodyPr/>
                    <a:lstStyle/>
                    <a:p>
                      <a:endParaRPr lang="fr-FR" dirty="0"/>
                    </a:p>
                  </a:txBody>
                  <a:tcPr>
                    <a:solidFill>
                      <a:schemeClr val="accent2">
                        <a:lumMod val="40000"/>
                        <a:lumOff val="60000"/>
                      </a:schemeClr>
                    </a:solidFill>
                  </a:tcPr>
                </a:tc>
                <a:tc hMerge="1">
                  <a:txBody>
                    <a:bodyPr/>
                    <a:lstStyle/>
                    <a:p>
                      <a:endParaRPr lang="fr-FR"/>
                    </a:p>
                  </a:txBody>
                  <a:tcPr>
                    <a:solidFill>
                      <a:schemeClr val="accent2">
                        <a:lumMod val="40000"/>
                        <a:lumOff val="60000"/>
                      </a:schemeClr>
                    </a:solidFill>
                  </a:tcPr>
                </a:tc>
                <a:tc hMerge="1">
                  <a:txBody>
                    <a:bodyPr/>
                    <a:lstStyle/>
                    <a:p>
                      <a:endParaRPr lang="fr-FR"/>
                    </a:p>
                  </a:txBody>
                  <a:tcPr>
                    <a:solidFill>
                      <a:schemeClr val="accent2">
                        <a:lumMod val="40000"/>
                        <a:lumOff val="60000"/>
                      </a:schemeClr>
                    </a:solidFill>
                  </a:tcPr>
                </a:tc>
                <a:tc hMerge="1">
                  <a:txBody>
                    <a:bodyPr/>
                    <a:lstStyle/>
                    <a:p>
                      <a:endParaRPr lang="fr-FR"/>
                    </a:p>
                  </a:txBody>
                  <a:tcPr>
                    <a:solidFill>
                      <a:schemeClr val="accent2">
                        <a:lumMod val="40000"/>
                        <a:lumOff val="60000"/>
                      </a:schemeClr>
                    </a:solidFill>
                  </a:tcPr>
                </a:tc>
                <a:tc hMerge="1">
                  <a:txBody>
                    <a:bodyPr/>
                    <a:lstStyle/>
                    <a:p>
                      <a:endParaRPr lang="fr-FR" dirty="0"/>
                    </a:p>
                  </a:txBody>
                  <a:tcPr>
                    <a:solidFill>
                      <a:schemeClr val="accent2">
                        <a:lumMod val="40000"/>
                        <a:lumOff val="60000"/>
                      </a:schemeClr>
                    </a:solidFill>
                  </a:tcPr>
                </a:tc>
                <a:tc hMerge="1">
                  <a:txBody>
                    <a:bodyPr/>
                    <a:lstStyle/>
                    <a:p>
                      <a:endParaRPr lang="fr-FR" dirty="0"/>
                    </a:p>
                  </a:txBody>
                  <a:tcPr>
                    <a:solidFill>
                      <a:schemeClr val="accent2">
                        <a:lumMod val="40000"/>
                        <a:lumOff val="60000"/>
                      </a:schemeClr>
                    </a:solidFill>
                  </a:tcPr>
                </a:tc>
                <a:tc hMerge="1">
                  <a:txBody>
                    <a:bodyPr/>
                    <a:lstStyle/>
                    <a:p>
                      <a:endParaRPr lang="fr-FR"/>
                    </a:p>
                  </a:txBody>
                  <a:tcPr>
                    <a:solidFill>
                      <a:schemeClr val="accent2">
                        <a:lumMod val="40000"/>
                        <a:lumOff val="60000"/>
                      </a:schemeClr>
                    </a:solidFill>
                  </a:tcPr>
                </a:tc>
                <a:tc hMerge="1">
                  <a:txBody>
                    <a:bodyPr/>
                    <a:lstStyle/>
                    <a:p>
                      <a:endParaRPr lang="fr-FR"/>
                    </a:p>
                  </a:txBody>
                  <a:tcPr>
                    <a:solidFill>
                      <a:schemeClr val="accent2">
                        <a:lumMod val="40000"/>
                        <a:lumOff val="60000"/>
                      </a:schemeClr>
                    </a:solidFill>
                  </a:tcPr>
                </a:tc>
                <a:tc hMerge="1">
                  <a:txBody>
                    <a:bodyPr/>
                    <a:lstStyle/>
                    <a:p>
                      <a:endParaRPr lang="fr-FR" dirty="0"/>
                    </a:p>
                  </a:txBody>
                  <a:tcPr>
                    <a:solidFill>
                      <a:schemeClr val="accent2">
                        <a:lumMod val="40000"/>
                        <a:lumOff val="60000"/>
                      </a:schemeClr>
                    </a:solidFill>
                  </a:tcPr>
                </a:tc>
                <a:tc hMerge="1">
                  <a:txBody>
                    <a:bodyPr/>
                    <a:lstStyle/>
                    <a:p>
                      <a:endParaRPr lang="fr-FR" dirty="0"/>
                    </a:p>
                  </a:txBody>
                  <a:tcPr>
                    <a:solidFill>
                      <a:schemeClr val="accent2">
                        <a:lumMod val="40000"/>
                        <a:lumOff val="60000"/>
                      </a:schemeClr>
                    </a:solidFill>
                  </a:tcPr>
                </a:tc>
                <a:tc hMerge="1">
                  <a:txBody>
                    <a:bodyPr/>
                    <a:lstStyle/>
                    <a:p>
                      <a:endParaRPr lang="fr-FR" dirty="0"/>
                    </a:p>
                  </a:txBody>
                  <a:tcPr>
                    <a:solidFill>
                      <a:schemeClr val="accent2">
                        <a:lumMod val="40000"/>
                        <a:lumOff val="60000"/>
                      </a:schemeClr>
                    </a:solidFill>
                  </a:tcPr>
                </a:tc>
                <a:tc hMerge="1">
                  <a:txBody>
                    <a:bodyPr/>
                    <a:lstStyle/>
                    <a:p>
                      <a:endParaRPr lang="fr-FR" dirty="0"/>
                    </a:p>
                  </a:txBody>
                  <a:tcPr>
                    <a:solidFill>
                      <a:schemeClr val="accent2">
                        <a:lumMod val="40000"/>
                        <a:lumOff val="60000"/>
                      </a:schemeClr>
                    </a:solidFill>
                  </a:tcPr>
                </a:tc>
                <a:extLst>
                  <a:ext uri="{0D108BD9-81ED-4DB2-BD59-A6C34878D82A}">
                    <a16:rowId xmlns:a16="http://schemas.microsoft.com/office/drawing/2014/main" val="2496830670"/>
                  </a:ext>
                </a:extLst>
              </a:tr>
              <a:tr h="375783">
                <a:tc>
                  <a:txBody>
                    <a:bodyPr/>
                    <a:lstStyle/>
                    <a:p>
                      <a:pPr marL="285750" indent="-285750" algn="l" defTabSz="914400" rtl="0" eaLnBrk="1" latinLnBrk="0" hangingPunct="1">
                        <a:buFont typeface="Arial" panose="020B0604020202020204" pitchFamily="34" charset="0"/>
                        <a:buChar char="•"/>
                      </a:pPr>
                      <a:r>
                        <a:rPr lang="fr-FR" sz="1600" b="0" kern="1200" dirty="0">
                          <a:solidFill>
                            <a:schemeClr val="bg2">
                              <a:lumMod val="50000"/>
                            </a:schemeClr>
                          </a:solidFill>
                          <a:latin typeface="Tw Cen MT" panose="020B0602020104020603" pitchFamily="34" charset="0"/>
                          <a:ea typeface="+mn-ea"/>
                          <a:cs typeface="+mn-cs"/>
                        </a:rPr>
                        <a:t>Analyse du besoin du client</a:t>
                      </a:r>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a:p>
                  </a:txBody>
                  <a:tcPr/>
                </a:tc>
                <a:tc>
                  <a:txBody>
                    <a:bodyPr/>
                    <a:lstStyle/>
                    <a:p>
                      <a:endParaRPr lang="fr-FR" dirty="0"/>
                    </a:p>
                  </a:txBody>
                  <a:tcPr/>
                </a:tc>
                <a:tc>
                  <a:txBody>
                    <a:bodyPr/>
                    <a:lstStyle/>
                    <a:p>
                      <a:endParaRPr lang="fr-FR"/>
                    </a:p>
                  </a:txBody>
                  <a:tcPr/>
                </a:tc>
                <a:tc>
                  <a:txBody>
                    <a:bodyPr/>
                    <a:lstStyle/>
                    <a:p>
                      <a:endParaRPr lang="fr-FR" dirty="0"/>
                    </a:p>
                  </a:txBody>
                  <a:tcPr/>
                </a:tc>
                <a:tc>
                  <a:txBody>
                    <a:bodyPr/>
                    <a:lstStyle/>
                    <a:p>
                      <a:endParaRPr lang="fr-FR"/>
                    </a:p>
                  </a:txBody>
                  <a:tcPr/>
                </a:tc>
                <a:tc>
                  <a:txBody>
                    <a:bodyPr/>
                    <a:lstStyle/>
                    <a:p>
                      <a:endParaRPr lang="fr-FR"/>
                    </a:p>
                  </a:txBody>
                  <a:tcPr/>
                </a:tc>
                <a:tc>
                  <a:txBody>
                    <a:bodyPr/>
                    <a:lstStyle/>
                    <a:p>
                      <a:endParaRPr lang="fr-FR"/>
                    </a:p>
                  </a:txBody>
                  <a:tcPr/>
                </a:tc>
                <a:tc>
                  <a:txBody>
                    <a:bodyPr/>
                    <a:lstStyle/>
                    <a:p>
                      <a:endParaRPr lang="fr-FR"/>
                    </a:p>
                  </a:txBody>
                  <a:tcPr/>
                </a:tc>
                <a:tc>
                  <a:txBody>
                    <a:bodyPr/>
                    <a:lstStyle/>
                    <a:p>
                      <a:endParaRPr lang="fr-FR"/>
                    </a:p>
                  </a:txBody>
                  <a:tcPr/>
                </a:tc>
                <a:tc>
                  <a:txBody>
                    <a:bodyPr/>
                    <a:lstStyle/>
                    <a:p>
                      <a:endParaRPr lang="fr-FR" dirty="0"/>
                    </a:p>
                  </a:txBody>
                  <a:tcPr/>
                </a:tc>
                <a:extLst>
                  <a:ext uri="{0D108BD9-81ED-4DB2-BD59-A6C34878D82A}">
                    <a16:rowId xmlns:a16="http://schemas.microsoft.com/office/drawing/2014/main" val="4104674337"/>
                  </a:ext>
                </a:extLst>
              </a:tr>
              <a:tr h="359876">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b="0" kern="1200" dirty="0">
                          <a:solidFill>
                            <a:schemeClr val="bg2">
                              <a:lumMod val="50000"/>
                            </a:schemeClr>
                          </a:solidFill>
                          <a:latin typeface="Tw Cen MT" panose="020B0602020104020603" pitchFamily="34" charset="0"/>
                          <a:ea typeface="+mn-ea"/>
                          <a:cs typeface="+mn-cs"/>
                        </a:rPr>
                        <a:t>Etude de faisabilité</a:t>
                      </a:r>
                    </a:p>
                  </a:txBody>
                  <a:tcPr/>
                </a:tc>
                <a:tc>
                  <a:txBody>
                    <a:bodyPr/>
                    <a:lstStyle/>
                    <a:p>
                      <a:endParaRPr lang="fr-FR" dirty="0"/>
                    </a:p>
                  </a:txBody>
                  <a:tcPr/>
                </a:tc>
                <a:tc>
                  <a:txBody>
                    <a:bodyPr/>
                    <a:lstStyle/>
                    <a:p>
                      <a:endParaRPr lang="fr-FR"/>
                    </a:p>
                  </a:txBody>
                  <a:tcPr/>
                </a:tc>
                <a:tc>
                  <a:txBody>
                    <a:bodyPr/>
                    <a:lstStyle/>
                    <a:p>
                      <a:endParaRPr lang="fr-FR"/>
                    </a:p>
                  </a:txBody>
                  <a:tcPr/>
                </a:tc>
                <a:tc>
                  <a:txBody>
                    <a:bodyPr/>
                    <a:lstStyle/>
                    <a:p>
                      <a:endParaRPr lang="fr-FR"/>
                    </a:p>
                  </a:txBody>
                  <a:tcPr/>
                </a:tc>
                <a:tc>
                  <a:txBody>
                    <a:bodyPr/>
                    <a:lstStyle/>
                    <a:p>
                      <a:endParaRPr lang="fr-FR"/>
                    </a:p>
                  </a:txBody>
                  <a:tcPr/>
                </a:tc>
                <a:tc>
                  <a:txBody>
                    <a:bodyPr/>
                    <a:lstStyle/>
                    <a:p>
                      <a:endParaRPr lang="fr-FR"/>
                    </a:p>
                  </a:txBody>
                  <a:tcPr/>
                </a:tc>
                <a:tc>
                  <a:txBody>
                    <a:bodyPr/>
                    <a:lstStyle/>
                    <a:p>
                      <a:endParaRPr lang="fr-FR"/>
                    </a:p>
                  </a:txBody>
                  <a:tcPr/>
                </a:tc>
                <a:tc>
                  <a:txBody>
                    <a:bodyPr/>
                    <a:lstStyle/>
                    <a:p>
                      <a:endParaRPr lang="fr-FR"/>
                    </a:p>
                  </a:txBody>
                  <a:tcPr/>
                </a:tc>
                <a:tc>
                  <a:txBody>
                    <a:bodyPr/>
                    <a:lstStyle/>
                    <a:p>
                      <a:endParaRPr lang="fr-FR"/>
                    </a:p>
                  </a:txBody>
                  <a:tcPr/>
                </a:tc>
                <a:tc>
                  <a:txBody>
                    <a:bodyPr/>
                    <a:lstStyle/>
                    <a:p>
                      <a:endParaRPr lang="fr-FR"/>
                    </a:p>
                  </a:txBody>
                  <a:tcPr/>
                </a:tc>
                <a:tc>
                  <a:txBody>
                    <a:bodyPr/>
                    <a:lstStyle/>
                    <a:p>
                      <a:endParaRPr lang="fr-FR" dirty="0"/>
                    </a:p>
                  </a:txBody>
                  <a:tcPr/>
                </a:tc>
                <a:tc>
                  <a:txBody>
                    <a:bodyPr/>
                    <a:lstStyle/>
                    <a:p>
                      <a:endParaRPr lang="fr-FR"/>
                    </a:p>
                  </a:txBody>
                  <a:tcPr/>
                </a:tc>
                <a:tc>
                  <a:txBody>
                    <a:bodyPr/>
                    <a:lstStyle/>
                    <a:p>
                      <a:endParaRPr lang="fr-FR"/>
                    </a:p>
                  </a:txBody>
                  <a:tcPr/>
                </a:tc>
                <a:extLst>
                  <a:ext uri="{0D108BD9-81ED-4DB2-BD59-A6C34878D82A}">
                    <a16:rowId xmlns:a16="http://schemas.microsoft.com/office/drawing/2014/main" val="3866009847"/>
                  </a:ext>
                </a:extLst>
              </a:tr>
              <a:tr h="359876">
                <a:tc>
                  <a:txBody>
                    <a:bodyPr/>
                    <a:lstStyle/>
                    <a:p>
                      <a:pPr marL="285750" indent="-285750">
                        <a:buFont typeface="Arial" panose="020B0604020202020204" pitchFamily="34" charset="0"/>
                        <a:buChar char="•"/>
                      </a:pPr>
                      <a:r>
                        <a:rPr lang="fr-FR" sz="1600" b="0" kern="1200" dirty="0">
                          <a:solidFill>
                            <a:schemeClr val="bg2">
                              <a:lumMod val="50000"/>
                            </a:schemeClr>
                          </a:solidFill>
                          <a:latin typeface="Tw Cen MT" panose="020B0602020104020603" pitchFamily="34" charset="0"/>
                          <a:ea typeface="+mn-ea"/>
                          <a:cs typeface="+mn-cs"/>
                        </a:rPr>
                        <a:t>Audit de ressources</a:t>
                      </a:r>
                      <a:endParaRPr lang="fr-FR" sz="1600" dirty="0"/>
                    </a:p>
                  </a:txBody>
                  <a:tcPr/>
                </a:tc>
                <a:tc>
                  <a:txBody>
                    <a:bodyPr/>
                    <a:lstStyle/>
                    <a:p>
                      <a:endParaRPr lang="fr-FR"/>
                    </a:p>
                  </a:txBody>
                  <a:tcPr/>
                </a:tc>
                <a:tc>
                  <a:txBody>
                    <a:bodyPr/>
                    <a:lstStyle/>
                    <a:p>
                      <a:endParaRPr lang="fr-FR" dirty="0"/>
                    </a:p>
                  </a:txBody>
                  <a:tcPr/>
                </a:tc>
                <a:tc>
                  <a:txBody>
                    <a:bodyPr/>
                    <a:lstStyle/>
                    <a:p>
                      <a:endParaRPr lang="fr-FR"/>
                    </a:p>
                  </a:txBody>
                  <a:tcPr/>
                </a:tc>
                <a:tc>
                  <a:txBody>
                    <a:bodyPr/>
                    <a:lstStyle/>
                    <a:p>
                      <a:endParaRPr lang="fr-FR" dirty="0"/>
                    </a:p>
                  </a:txBody>
                  <a:tcPr/>
                </a:tc>
                <a:tc>
                  <a:txBody>
                    <a:bodyPr/>
                    <a:lstStyle/>
                    <a:p>
                      <a:endParaRPr lang="fr-FR"/>
                    </a:p>
                  </a:txBody>
                  <a:tcPr/>
                </a:tc>
                <a:tc>
                  <a:txBody>
                    <a:bodyPr/>
                    <a:lstStyle/>
                    <a:p>
                      <a:endParaRPr lang="fr-FR"/>
                    </a:p>
                  </a:txBody>
                  <a:tcPr/>
                </a:tc>
                <a:tc>
                  <a:txBody>
                    <a:bodyPr/>
                    <a:lstStyle/>
                    <a:p>
                      <a:endParaRPr lang="fr-FR"/>
                    </a:p>
                  </a:txBody>
                  <a:tcPr/>
                </a:tc>
                <a:tc>
                  <a:txBody>
                    <a:bodyPr/>
                    <a:lstStyle/>
                    <a:p>
                      <a:endParaRPr lang="fr-FR"/>
                    </a:p>
                  </a:txBody>
                  <a:tcPr/>
                </a:tc>
                <a:tc>
                  <a:txBody>
                    <a:bodyPr/>
                    <a:lstStyle/>
                    <a:p>
                      <a:endParaRPr lang="fr-FR"/>
                    </a:p>
                  </a:txBody>
                  <a:tcPr/>
                </a:tc>
                <a:tc>
                  <a:txBody>
                    <a:bodyPr/>
                    <a:lstStyle/>
                    <a:p>
                      <a:endParaRPr lang="fr-FR"/>
                    </a:p>
                  </a:txBody>
                  <a:tcPr/>
                </a:tc>
                <a:tc>
                  <a:txBody>
                    <a:bodyPr/>
                    <a:lstStyle/>
                    <a:p>
                      <a:endParaRPr lang="fr-FR"/>
                    </a:p>
                  </a:txBody>
                  <a:tcPr/>
                </a:tc>
                <a:tc>
                  <a:txBody>
                    <a:bodyPr/>
                    <a:lstStyle/>
                    <a:p>
                      <a:endParaRPr lang="fr-FR"/>
                    </a:p>
                  </a:txBody>
                  <a:tcPr/>
                </a:tc>
                <a:tc>
                  <a:txBody>
                    <a:bodyPr/>
                    <a:lstStyle/>
                    <a:p>
                      <a:endParaRPr lang="fr-FR"/>
                    </a:p>
                  </a:txBody>
                  <a:tcPr/>
                </a:tc>
                <a:extLst>
                  <a:ext uri="{0D108BD9-81ED-4DB2-BD59-A6C34878D82A}">
                    <a16:rowId xmlns:a16="http://schemas.microsoft.com/office/drawing/2014/main" val="466759474"/>
                  </a:ext>
                </a:extLst>
              </a:tr>
              <a:tr h="359876">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b="0" kern="1200" dirty="0">
                          <a:solidFill>
                            <a:schemeClr val="bg2">
                              <a:lumMod val="50000"/>
                            </a:schemeClr>
                          </a:solidFill>
                          <a:latin typeface="Tw Cen MT" panose="020B0602020104020603" pitchFamily="34" charset="0"/>
                          <a:ea typeface="+mn-ea"/>
                          <a:cs typeface="+mn-cs"/>
                        </a:rPr>
                        <a:t>Définition d’équipes</a:t>
                      </a:r>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extLst>
                  <a:ext uri="{0D108BD9-81ED-4DB2-BD59-A6C34878D82A}">
                    <a16:rowId xmlns:a16="http://schemas.microsoft.com/office/drawing/2014/main" val="2629291329"/>
                  </a:ext>
                </a:extLst>
              </a:tr>
            </a:tbl>
          </a:graphicData>
        </a:graphic>
      </p:graphicFrame>
      <p:graphicFrame>
        <p:nvGraphicFramePr>
          <p:cNvPr id="32" name="SmartArt Placeholder 17">
            <a:extLst>
              <a:ext uri="{FF2B5EF4-FFF2-40B4-BE49-F238E27FC236}">
                <a16:creationId xmlns:a16="http://schemas.microsoft.com/office/drawing/2014/main" id="{484405CA-9743-43C0-A179-1737F972CEA4}"/>
              </a:ext>
            </a:extLst>
          </p:cNvPr>
          <p:cNvGraphicFramePr>
            <a:graphicFrameLocks/>
          </p:cNvGraphicFramePr>
          <p:nvPr>
            <p:extLst>
              <p:ext uri="{D42A27DB-BD31-4B8C-83A1-F6EECF244321}">
                <p14:modId xmlns:p14="http://schemas.microsoft.com/office/powerpoint/2010/main" val="1275582712"/>
              </p:ext>
            </p:extLst>
          </p:nvPr>
        </p:nvGraphicFramePr>
        <p:xfrm>
          <a:off x="3647728" y="1162608"/>
          <a:ext cx="7753982" cy="707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3" name="Tableau 32">
            <a:extLst>
              <a:ext uri="{FF2B5EF4-FFF2-40B4-BE49-F238E27FC236}">
                <a16:creationId xmlns:a16="http://schemas.microsoft.com/office/drawing/2014/main" id="{5A38C9D2-E045-4E2B-BD95-E575D2D916A6}"/>
              </a:ext>
            </a:extLst>
          </p:cNvPr>
          <p:cNvGraphicFramePr>
            <a:graphicFrameLocks noGrp="1"/>
          </p:cNvGraphicFramePr>
          <p:nvPr>
            <p:extLst>
              <p:ext uri="{D42A27DB-BD31-4B8C-83A1-F6EECF244321}">
                <p14:modId xmlns:p14="http://schemas.microsoft.com/office/powerpoint/2010/main" val="1421071894"/>
              </p:ext>
            </p:extLst>
          </p:nvPr>
        </p:nvGraphicFramePr>
        <p:xfrm>
          <a:off x="253945" y="3701287"/>
          <a:ext cx="11147765" cy="2743200"/>
        </p:xfrm>
        <a:graphic>
          <a:graphicData uri="http://schemas.openxmlformats.org/drawingml/2006/table">
            <a:tbl>
              <a:tblPr firstRow="1" bandRow="1">
                <a:effectLst/>
                <a:tableStyleId>{5C22544A-7EE6-4342-B048-85BDC9FD1C3A}</a:tableStyleId>
              </a:tblPr>
              <a:tblGrid>
                <a:gridCol w="3436400">
                  <a:extLst>
                    <a:ext uri="{9D8B030D-6E8A-4147-A177-3AD203B41FA5}">
                      <a16:colId xmlns:a16="http://schemas.microsoft.com/office/drawing/2014/main" val="2605822953"/>
                    </a:ext>
                  </a:extLst>
                </a:gridCol>
                <a:gridCol w="530546">
                  <a:extLst>
                    <a:ext uri="{9D8B030D-6E8A-4147-A177-3AD203B41FA5}">
                      <a16:colId xmlns:a16="http://schemas.microsoft.com/office/drawing/2014/main" val="2531054320"/>
                    </a:ext>
                  </a:extLst>
                </a:gridCol>
                <a:gridCol w="556687">
                  <a:extLst>
                    <a:ext uri="{9D8B030D-6E8A-4147-A177-3AD203B41FA5}">
                      <a16:colId xmlns:a16="http://schemas.microsoft.com/office/drawing/2014/main" val="2394899589"/>
                    </a:ext>
                  </a:extLst>
                </a:gridCol>
                <a:gridCol w="540544">
                  <a:extLst>
                    <a:ext uri="{9D8B030D-6E8A-4147-A177-3AD203B41FA5}">
                      <a16:colId xmlns:a16="http://schemas.microsoft.com/office/drawing/2014/main" val="3136913675"/>
                    </a:ext>
                  </a:extLst>
                </a:gridCol>
                <a:gridCol w="540544">
                  <a:extLst>
                    <a:ext uri="{9D8B030D-6E8A-4147-A177-3AD203B41FA5}">
                      <a16:colId xmlns:a16="http://schemas.microsoft.com/office/drawing/2014/main" val="808642795"/>
                    </a:ext>
                  </a:extLst>
                </a:gridCol>
                <a:gridCol w="540544">
                  <a:extLst>
                    <a:ext uri="{9D8B030D-6E8A-4147-A177-3AD203B41FA5}">
                      <a16:colId xmlns:a16="http://schemas.microsoft.com/office/drawing/2014/main" val="2037184306"/>
                    </a:ext>
                  </a:extLst>
                </a:gridCol>
                <a:gridCol w="636636">
                  <a:extLst>
                    <a:ext uri="{9D8B030D-6E8A-4147-A177-3AD203B41FA5}">
                      <a16:colId xmlns:a16="http://schemas.microsoft.com/office/drawing/2014/main" val="2282260029"/>
                    </a:ext>
                  </a:extLst>
                </a:gridCol>
                <a:gridCol w="636636">
                  <a:extLst>
                    <a:ext uri="{9D8B030D-6E8A-4147-A177-3AD203B41FA5}">
                      <a16:colId xmlns:a16="http://schemas.microsoft.com/office/drawing/2014/main" val="2749903309"/>
                    </a:ext>
                  </a:extLst>
                </a:gridCol>
                <a:gridCol w="636636">
                  <a:extLst>
                    <a:ext uri="{9D8B030D-6E8A-4147-A177-3AD203B41FA5}">
                      <a16:colId xmlns:a16="http://schemas.microsoft.com/office/drawing/2014/main" val="1294150393"/>
                    </a:ext>
                  </a:extLst>
                </a:gridCol>
                <a:gridCol w="636636">
                  <a:extLst>
                    <a:ext uri="{9D8B030D-6E8A-4147-A177-3AD203B41FA5}">
                      <a16:colId xmlns:a16="http://schemas.microsoft.com/office/drawing/2014/main" val="1111580016"/>
                    </a:ext>
                  </a:extLst>
                </a:gridCol>
                <a:gridCol w="577954">
                  <a:extLst>
                    <a:ext uri="{9D8B030D-6E8A-4147-A177-3AD203B41FA5}">
                      <a16:colId xmlns:a16="http://schemas.microsoft.com/office/drawing/2014/main" val="638277926"/>
                    </a:ext>
                  </a:extLst>
                </a:gridCol>
                <a:gridCol w="618969">
                  <a:extLst>
                    <a:ext uri="{9D8B030D-6E8A-4147-A177-3AD203B41FA5}">
                      <a16:colId xmlns:a16="http://schemas.microsoft.com/office/drawing/2014/main" val="1803723"/>
                    </a:ext>
                  </a:extLst>
                </a:gridCol>
                <a:gridCol w="622397">
                  <a:extLst>
                    <a:ext uri="{9D8B030D-6E8A-4147-A177-3AD203B41FA5}">
                      <a16:colId xmlns:a16="http://schemas.microsoft.com/office/drawing/2014/main" val="2954700129"/>
                    </a:ext>
                  </a:extLst>
                </a:gridCol>
                <a:gridCol w="636636">
                  <a:extLst>
                    <a:ext uri="{9D8B030D-6E8A-4147-A177-3AD203B41FA5}">
                      <a16:colId xmlns:a16="http://schemas.microsoft.com/office/drawing/2014/main" val="2563220320"/>
                    </a:ext>
                  </a:extLst>
                </a:gridCol>
              </a:tblGrid>
              <a:tr h="324343">
                <a:tc gridSpan="14">
                  <a:txBody>
                    <a:bodyPr/>
                    <a:lstStyle/>
                    <a:p>
                      <a:pPr marL="0" algn="l" defTabSz="914400" rtl="0" eaLnBrk="1" latinLnBrk="0" hangingPunct="1"/>
                      <a:r>
                        <a:rPr lang="fr-FR" sz="1600" b="1" kern="1200" dirty="0">
                          <a:solidFill>
                            <a:schemeClr val="tx1">
                              <a:lumMod val="75000"/>
                              <a:lumOff val="25000"/>
                            </a:schemeClr>
                          </a:solidFill>
                          <a:latin typeface="Tw Cen MT" panose="020B0602020104020603" pitchFamily="34" charset="0"/>
                          <a:ea typeface="+mn-ea"/>
                          <a:cs typeface="+mn-cs"/>
                        </a:rPr>
                        <a:t>      P R O J E T</a:t>
                      </a:r>
                    </a:p>
                  </a:txBody>
                  <a:tcPr>
                    <a:solidFill>
                      <a:srgbClr val="00B0F0"/>
                    </a:solidFill>
                  </a:tcPr>
                </a:tc>
                <a:tc hMerge="1">
                  <a:txBody>
                    <a:bodyPr/>
                    <a:lstStyle/>
                    <a:p>
                      <a:endParaRPr lang="fr-FR" dirty="0"/>
                    </a:p>
                  </a:txBody>
                  <a:tcPr>
                    <a:solidFill>
                      <a:srgbClr val="00B0F0"/>
                    </a:solidFill>
                  </a:tcPr>
                </a:tc>
                <a:tc hMerge="1">
                  <a:txBody>
                    <a:bodyPr/>
                    <a:lstStyle/>
                    <a:p>
                      <a:endParaRPr lang="fr-FR"/>
                    </a:p>
                  </a:txBody>
                  <a:tcPr>
                    <a:solidFill>
                      <a:srgbClr val="00B0F0"/>
                    </a:solidFill>
                  </a:tcPr>
                </a:tc>
                <a:tc hMerge="1">
                  <a:txBody>
                    <a:bodyPr/>
                    <a:lstStyle/>
                    <a:p>
                      <a:endParaRPr lang="fr-FR" dirty="0"/>
                    </a:p>
                  </a:txBody>
                  <a:tcPr>
                    <a:solidFill>
                      <a:srgbClr val="00B0F0"/>
                    </a:solidFill>
                  </a:tcPr>
                </a:tc>
                <a:tc hMerge="1">
                  <a:txBody>
                    <a:bodyPr/>
                    <a:lstStyle/>
                    <a:p>
                      <a:endParaRPr lang="fr-FR" dirty="0"/>
                    </a:p>
                  </a:txBody>
                  <a:tcPr>
                    <a:solidFill>
                      <a:srgbClr val="00B0F0"/>
                    </a:solidFill>
                  </a:tcPr>
                </a:tc>
                <a:tc hMerge="1">
                  <a:txBody>
                    <a:bodyPr/>
                    <a:lstStyle/>
                    <a:p>
                      <a:endParaRPr lang="fr-FR" dirty="0"/>
                    </a:p>
                  </a:txBody>
                  <a:tcPr>
                    <a:solidFill>
                      <a:srgbClr val="00B0F0"/>
                    </a:solidFill>
                  </a:tcPr>
                </a:tc>
                <a:tc hMerge="1">
                  <a:txBody>
                    <a:bodyPr/>
                    <a:lstStyle/>
                    <a:p>
                      <a:endParaRPr lang="fr-FR" dirty="0"/>
                    </a:p>
                  </a:txBody>
                  <a:tcPr>
                    <a:solidFill>
                      <a:srgbClr val="00B0F0"/>
                    </a:solidFill>
                  </a:tcPr>
                </a:tc>
                <a:tc hMerge="1">
                  <a:txBody>
                    <a:bodyPr/>
                    <a:lstStyle/>
                    <a:p>
                      <a:endParaRPr lang="fr-FR" dirty="0"/>
                    </a:p>
                  </a:txBody>
                  <a:tcPr>
                    <a:solidFill>
                      <a:srgbClr val="00B0F0"/>
                    </a:solidFill>
                  </a:tcPr>
                </a:tc>
                <a:tc hMerge="1">
                  <a:txBody>
                    <a:bodyPr/>
                    <a:lstStyle/>
                    <a:p>
                      <a:endParaRPr lang="fr-FR" dirty="0"/>
                    </a:p>
                  </a:txBody>
                  <a:tcPr>
                    <a:solidFill>
                      <a:srgbClr val="00B0F0"/>
                    </a:solidFill>
                  </a:tcPr>
                </a:tc>
                <a:tc hMerge="1">
                  <a:txBody>
                    <a:bodyPr/>
                    <a:lstStyle/>
                    <a:p>
                      <a:endParaRPr lang="fr-FR" dirty="0"/>
                    </a:p>
                  </a:txBody>
                  <a:tcPr>
                    <a:solidFill>
                      <a:srgbClr val="00B0F0"/>
                    </a:solidFill>
                  </a:tcPr>
                </a:tc>
                <a:tc hMerge="1">
                  <a:txBody>
                    <a:bodyPr/>
                    <a:lstStyle/>
                    <a:p>
                      <a:endParaRPr lang="fr-FR" dirty="0"/>
                    </a:p>
                  </a:txBody>
                  <a:tcPr>
                    <a:solidFill>
                      <a:srgbClr val="00B0F0"/>
                    </a:solidFill>
                  </a:tcPr>
                </a:tc>
                <a:tc hMerge="1">
                  <a:txBody>
                    <a:bodyPr/>
                    <a:lstStyle/>
                    <a:p>
                      <a:endParaRPr lang="fr-FR" dirty="0"/>
                    </a:p>
                  </a:txBody>
                  <a:tcPr>
                    <a:solidFill>
                      <a:srgbClr val="00B0F0"/>
                    </a:solidFill>
                  </a:tcPr>
                </a:tc>
                <a:tc hMerge="1">
                  <a:txBody>
                    <a:bodyPr/>
                    <a:lstStyle/>
                    <a:p>
                      <a:endParaRPr lang="fr-FR" dirty="0"/>
                    </a:p>
                  </a:txBody>
                  <a:tcPr>
                    <a:solidFill>
                      <a:srgbClr val="00B0F0"/>
                    </a:solidFill>
                  </a:tcPr>
                </a:tc>
                <a:tc hMerge="1">
                  <a:txBody>
                    <a:bodyPr/>
                    <a:lstStyle/>
                    <a:p>
                      <a:endParaRPr lang="fr-FR" dirty="0"/>
                    </a:p>
                  </a:txBody>
                  <a:tcPr>
                    <a:solidFill>
                      <a:srgbClr val="00B0F0"/>
                    </a:solidFill>
                  </a:tcPr>
                </a:tc>
                <a:extLst>
                  <a:ext uri="{0D108BD9-81ED-4DB2-BD59-A6C34878D82A}">
                    <a16:rowId xmlns:a16="http://schemas.microsoft.com/office/drawing/2014/main" val="1154610991"/>
                  </a:ext>
                </a:extLst>
              </a:tr>
              <a:tr h="35881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b="0" kern="1200" dirty="0">
                          <a:solidFill>
                            <a:schemeClr val="bg2">
                              <a:lumMod val="50000"/>
                            </a:schemeClr>
                          </a:solidFill>
                          <a:latin typeface="Tw Cen MT" panose="020B0602020104020603" pitchFamily="34" charset="0"/>
                          <a:ea typeface="+mn-ea"/>
                          <a:cs typeface="+mn-cs"/>
                        </a:rPr>
                        <a:t>Définition de Roadmaps DevOps</a:t>
                      </a:r>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extLst>
                  <a:ext uri="{0D108BD9-81ED-4DB2-BD59-A6C34878D82A}">
                    <a16:rowId xmlns:a16="http://schemas.microsoft.com/office/drawing/2014/main" val="1220088781"/>
                  </a:ext>
                </a:extLst>
              </a:tr>
              <a:tr h="35881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b="0" kern="1200" dirty="0">
                          <a:solidFill>
                            <a:schemeClr val="bg2">
                              <a:lumMod val="50000"/>
                            </a:schemeClr>
                          </a:solidFill>
                          <a:latin typeface="Tw Cen MT" panose="020B0602020104020603" pitchFamily="34" charset="0"/>
                          <a:ea typeface="+mn-ea"/>
                          <a:cs typeface="+mn-cs"/>
                        </a:rPr>
                        <a:t>Création du Datamodel</a:t>
                      </a:r>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extLst>
                  <a:ext uri="{0D108BD9-81ED-4DB2-BD59-A6C34878D82A}">
                    <a16:rowId xmlns:a16="http://schemas.microsoft.com/office/drawing/2014/main" val="2403266623"/>
                  </a:ext>
                </a:extLst>
              </a:tr>
              <a:tr h="35881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b="0" kern="1200" dirty="0">
                          <a:solidFill>
                            <a:schemeClr val="bg2">
                              <a:lumMod val="50000"/>
                            </a:schemeClr>
                          </a:solidFill>
                          <a:latin typeface="Tw Cen MT" panose="020B0602020104020603" pitchFamily="34" charset="0"/>
                          <a:ea typeface="+mn-ea"/>
                          <a:cs typeface="+mn-cs"/>
                        </a:rPr>
                        <a:t>Mise en place d’environnement</a:t>
                      </a:r>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extLst>
                  <a:ext uri="{0D108BD9-81ED-4DB2-BD59-A6C34878D82A}">
                    <a16:rowId xmlns:a16="http://schemas.microsoft.com/office/drawing/2014/main" val="2704833233"/>
                  </a:ext>
                </a:extLst>
              </a:tr>
              <a:tr h="35881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b="0" kern="1200" dirty="0">
                          <a:solidFill>
                            <a:schemeClr val="bg2">
                              <a:lumMod val="50000"/>
                            </a:schemeClr>
                          </a:solidFill>
                          <a:latin typeface="Tw Cen MT" panose="020B0602020104020603" pitchFamily="34" charset="0"/>
                          <a:ea typeface="+mn-ea"/>
                          <a:cs typeface="+mn-cs"/>
                        </a:rPr>
                        <a:t>Design de la solution CI/CD </a:t>
                      </a:r>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extLst>
                  <a:ext uri="{0D108BD9-81ED-4DB2-BD59-A6C34878D82A}">
                    <a16:rowId xmlns:a16="http://schemas.microsoft.com/office/drawing/2014/main" val="2681901197"/>
                  </a:ext>
                </a:extLst>
              </a:tr>
              <a:tr h="35881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b="0" kern="1200" dirty="0">
                          <a:solidFill>
                            <a:schemeClr val="bg2">
                              <a:lumMod val="50000"/>
                            </a:schemeClr>
                          </a:solidFill>
                          <a:latin typeface="Tw Cen MT" panose="020B0602020104020603" pitchFamily="34" charset="0"/>
                          <a:ea typeface="+mn-ea"/>
                          <a:cs typeface="+mn-cs"/>
                        </a:rPr>
                        <a:t>Customisation de la  3dx</a:t>
                      </a:r>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extLst>
                  <a:ext uri="{0D108BD9-81ED-4DB2-BD59-A6C34878D82A}">
                    <a16:rowId xmlns:a16="http://schemas.microsoft.com/office/drawing/2014/main" val="722335980"/>
                  </a:ext>
                </a:extLst>
              </a:tr>
              <a:tr h="541553">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b="0" kern="1200" dirty="0">
                          <a:solidFill>
                            <a:schemeClr val="bg2">
                              <a:lumMod val="50000"/>
                            </a:schemeClr>
                          </a:solidFill>
                          <a:latin typeface="Tw Cen MT" panose="020B0602020104020603" pitchFamily="34" charset="0"/>
                          <a:ea typeface="+mn-ea"/>
                          <a:cs typeface="+mn-cs"/>
                        </a:rPr>
                        <a:t>Migration de données à 3d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FR" sz="1600" b="0" kern="1200" dirty="0">
                        <a:solidFill>
                          <a:schemeClr val="bg2">
                            <a:lumMod val="50000"/>
                          </a:schemeClr>
                        </a:solidFill>
                        <a:latin typeface="Tw Cen MT" panose="020B0602020104020603" pitchFamily="34" charset="0"/>
                        <a:ea typeface="+mn-ea"/>
                        <a:cs typeface="+mn-cs"/>
                      </a:endParaRPr>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extLst>
                  <a:ext uri="{0D108BD9-81ED-4DB2-BD59-A6C34878D82A}">
                    <a16:rowId xmlns:a16="http://schemas.microsoft.com/office/drawing/2014/main" val="514470034"/>
                  </a:ext>
                </a:extLst>
              </a:tr>
            </a:tbl>
          </a:graphicData>
        </a:graphic>
      </p:graphicFrame>
      <p:sp>
        <p:nvSpPr>
          <p:cNvPr id="34" name="Flèche : droite rayée 33">
            <a:extLst>
              <a:ext uri="{FF2B5EF4-FFF2-40B4-BE49-F238E27FC236}">
                <a16:creationId xmlns:a16="http://schemas.microsoft.com/office/drawing/2014/main" id="{F03DBF1A-4ABD-4C5C-8792-16C069EFB776}"/>
              </a:ext>
            </a:extLst>
          </p:cNvPr>
          <p:cNvSpPr/>
          <p:nvPr/>
        </p:nvSpPr>
        <p:spPr>
          <a:xfrm>
            <a:off x="3719736" y="2144626"/>
            <a:ext cx="360040" cy="351370"/>
          </a:xfrm>
          <a:prstGeom prst="stripedRightArrow">
            <a:avLst/>
          </a:prstGeom>
          <a:solidFill>
            <a:srgbClr val="88D5ED"/>
          </a:solidFill>
          <a:ln>
            <a:solidFill>
              <a:srgbClr val="88D5E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Flèche : droite rayée 34">
            <a:extLst>
              <a:ext uri="{FF2B5EF4-FFF2-40B4-BE49-F238E27FC236}">
                <a16:creationId xmlns:a16="http://schemas.microsoft.com/office/drawing/2014/main" id="{D54D07FB-7A1C-4302-9B09-68F2B375BD3C}"/>
              </a:ext>
            </a:extLst>
          </p:cNvPr>
          <p:cNvSpPr/>
          <p:nvPr/>
        </p:nvSpPr>
        <p:spPr>
          <a:xfrm>
            <a:off x="3899756" y="2505345"/>
            <a:ext cx="612068" cy="351370"/>
          </a:xfrm>
          <a:prstGeom prst="stripedRightArrow">
            <a:avLst/>
          </a:prstGeom>
          <a:solidFill>
            <a:srgbClr val="88D5ED"/>
          </a:solidFill>
          <a:ln>
            <a:solidFill>
              <a:srgbClr val="88D5E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Flèche : droite rayée 35">
            <a:extLst>
              <a:ext uri="{FF2B5EF4-FFF2-40B4-BE49-F238E27FC236}">
                <a16:creationId xmlns:a16="http://schemas.microsoft.com/office/drawing/2014/main" id="{B36A844B-EA41-4803-B69F-CBD00529E7E5}"/>
              </a:ext>
            </a:extLst>
          </p:cNvPr>
          <p:cNvSpPr/>
          <p:nvPr/>
        </p:nvSpPr>
        <p:spPr>
          <a:xfrm>
            <a:off x="4511824" y="2866064"/>
            <a:ext cx="288032" cy="351370"/>
          </a:xfrm>
          <a:prstGeom prst="stripedRightArrow">
            <a:avLst/>
          </a:prstGeom>
          <a:solidFill>
            <a:srgbClr val="88D5ED"/>
          </a:solidFill>
          <a:ln>
            <a:solidFill>
              <a:srgbClr val="88D5E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Flèche : droite rayée 36">
            <a:extLst>
              <a:ext uri="{FF2B5EF4-FFF2-40B4-BE49-F238E27FC236}">
                <a16:creationId xmlns:a16="http://schemas.microsoft.com/office/drawing/2014/main" id="{C6A3C1F2-3B81-44EC-8974-E2CDCC1235E5}"/>
              </a:ext>
            </a:extLst>
          </p:cNvPr>
          <p:cNvSpPr/>
          <p:nvPr/>
        </p:nvSpPr>
        <p:spPr>
          <a:xfrm>
            <a:off x="4751090" y="3249604"/>
            <a:ext cx="288032" cy="351370"/>
          </a:xfrm>
          <a:prstGeom prst="stripedRightArrow">
            <a:avLst/>
          </a:prstGeom>
          <a:solidFill>
            <a:srgbClr val="88D5ED"/>
          </a:solidFill>
          <a:ln>
            <a:solidFill>
              <a:srgbClr val="88D5E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Flèche : droite rayée 37">
            <a:extLst>
              <a:ext uri="{FF2B5EF4-FFF2-40B4-BE49-F238E27FC236}">
                <a16:creationId xmlns:a16="http://schemas.microsoft.com/office/drawing/2014/main" id="{2041CEAE-1017-49FC-92FA-222361F63C21}"/>
              </a:ext>
            </a:extLst>
          </p:cNvPr>
          <p:cNvSpPr/>
          <p:nvPr/>
        </p:nvSpPr>
        <p:spPr>
          <a:xfrm>
            <a:off x="4990356" y="4186233"/>
            <a:ext cx="742222" cy="322887"/>
          </a:xfrm>
          <a:prstGeom prst="stripedRightArrow">
            <a:avLst/>
          </a:prstGeom>
          <a:solidFill>
            <a:schemeClr val="accent1">
              <a:lumMod val="40000"/>
              <a:lumOff val="60000"/>
            </a:schemeClr>
          </a:solidFill>
          <a:ln>
            <a:solidFill>
              <a:schemeClr val="accent1">
                <a:lumMod val="40000"/>
                <a:lumOff val="60000"/>
              </a:schemeClr>
            </a:solidFill>
          </a:ln>
          <a:effectLst>
            <a:outerShdw blurRad="50800" dist="38100" algn="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Flèche : droite rayée 38">
            <a:extLst>
              <a:ext uri="{FF2B5EF4-FFF2-40B4-BE49-F238E27FC236}">
                <a16:creationId xmlns:a16="http://schemas.microsoft.com/office/drawing/2014/main" id="{1A7AF3DE-F508-4D80-BE3E-F3548C639F46}"/>
              </a:ext>
            </a:extLst>
          </p:cNvPr>
          <p:cNvSpPr/>
          <p:nvPr/>
        </p:nvSpPr>
        <p:spPr>
          <a:xfrm>
            <a:off x="5566450" y="4576900"/>
            <a:ext cx="1465654" cy="322887"/>
          </a:xfrm>
          <a:prstGeom prst="stripedRightArrow">
            <a:avLst/>
          </a:prstGeom>
          <a:solidFill>
            <a:schemeClr val="accent1">
              <a:lumMod val="40000"/>
              <a:lumOff val="60000"/>
            </a:schemeClr>
          </a:solidFill>
          <a:ln>
            <a:solidFill>
              <a:schemeClr val="accent1">
                <a:lumMod val="40000"/>
                <a:lumOff val="60000"/>
              </a:schemeClr>
            </a:solidFill>
          </a:ln>
          <a:effectLst>
            <a:outerShdw blurRad="50800" dist="38100" algn="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Flèche : droite rayée 39">
            <a:extLst>
              <a:ext uri="{FF2B5EF4-FFF2-40B4-BE49-F238E27FC236}">
                <a16:creationId xmlns:a16="http://schemas.microsoft.com/office/drawing/2014/main" id="{E3FF1C4B-A025-4735-A09E-7CB51E4E4F3A}"/>
              </a:ext>
            </a:extLst>
          </p:cNvPr>
          <p:cNvSpPr/>
          <p:nvPr/>
        </p:nvSpPr>
        <p:spPr>
          <a:xfrm>
            <a:off x="7051064" y="5050329"/>
            <a:ext cx="1205176" cy="322886"/>
          </a:xfrm>
          <a:prstGeom prst="stripedRightArrow">
            <a:avLst/>
          </a:prstGeom>
          <a:solidFill>
            <a:schemeClr val="accent1">
              <a:lumMod val="40000"/>
              <a:lumOff val="60000"/>
            </a:schemeClr>
          </a:solidFill>
          <a:ln>
            <a:solidFill>
              <a:schemeClr val="accent1">
                <a:lumMod val="40000"/>
                <a:lumOff val="60000"/>
              </a:schemeClr>
            </a:solidFill>
          </a:ln>
          <a:effectLst>
            <a:outerShdw blurRad="50800" dist="38100" algn="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Flèche : droite rayée 40">
            <a:extLst>
              <a:ext uri="{FF2B5EF4-FFF2-40B4-BE49-F238E27FC236}">
                <a16:creationId xmlns:a16="http://schemas.microsoft.com/office/drawing/2014/main" id="{9B3E0E03-9BD3-4006-BAA3-94983C7BBCAA}"/>
              </a:ext>
            </a:extLst>
          </p:cNvPr>
          <p:cNvSpPr/>
          <p:nvPr/>
        </p:nvSpPr>
        <p:spPr>
          <a:xfrm>
            <a:off x="8328248" y="5410501"/>
            <a:ext cx="1205176" cy="322886"/>
          </a:xfrm>
          <a:prstGeom prst="stripedRightArrow">
            <a:avLst/>
          </a:prstGeom>
          <a:solidFill>
            <a:schemeClr val="accent1">
              <a:lumMod val="40000"/>
              <a:lumOff val="60000"/>
            </a:schemeClr>
          </a:solidFill>
          <a:ln>
            <a:solidFill>
              <a:schemeClr val="accent1">
                <a:lumMod val="40000"/>
                <a:lumOff val="60000"/>
              </a:schemeClr>
            </a:solidFill>
          </a:ln>
          <a:effectLst>
            <a:outerShdw blurRad="50800" dist="38100" algn="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Flèche : droite rayée 41">
            <a:extLst>
              <a:ext uri="{FF2B5EF4-FFF2-40B4-BE49-F238E27FC236}">
                <a16:creationId xmlns:a16="http://schemas.microsoft.com/office/drawing/2014/main" id="{BE6AC23D-3B3B-45DA-AA73-C8C06FFE0115}"/>
              </a:ext>
            </a:extLst>
          </p:cNvPr>
          <p:cNvSpPr/>
          <p:nvPr/>
        </p:nvSpPr>
        <p:spPr>
          <a:xfrm>
            <a:off x="9048328" y="5886801"/>
            <a:ext cx="1205176" cy="322886"/>
          </a:xfrm>
          <a:prstGeom prst="stripedRightArrow">
            <a:avLst/>
          </a:prstGeom>
          <a:solidFill>
            <a:schemeClr val="accent1">
              <a:lumMod val="40000"/>
              <a:lumOff val="60000"/>
            </a:schemeClr>
          </a:solidFill>
          <a:ln>
            <a:solidFill>
              <a:schemeClr val="accent1">
                <a:lumMod val="40000"/>
                <a:lumOff val="60000"/>
              </a:schemeClr>
            </a:solidFill>
          </a:ln>
          <a:effectLst>
            <a:outerShdw blurRad="50800" dist="38100" algn="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2" name="Groupe 21">
            <a:extLst>
              <a:ext uri="{FF2B5EF4-FFF2-40B4-BE49-F238E27FC236}">
                <a16:creationId xmlns:a16="http://schemas.microsoft.com/office/drawing/2014/main" id="{831FC95D-D27A-4CD9-95BB-A203F21B78BE}"/>
              </a:ext>
            </a:extLst>
          </p:cNvPr>
          <p:cNvGrpSpPr>
            <a:grpSpLocks noChangeAspect="1"/>
          </p:cNvGrpSpPr>
          <p:nvPr/>
        </p:nvGrpSpPr>
        <p:grpSpPr>
          <a:xfrm>
            <a:off x="-52645" y="3584802"/>
            <a:ext cx="663452" cy="626239"/>
            <a:chOff x="5010150" y="552451"/>
            <a:chExt cx="990600" cy="935038"/>
          </a:xfrm>
        </p:grpSpPr>
        <p:sp>
          <p:nvSpPr>
            <p:cNvPr id="23" name="Freeform 86">
              <a:extLst>
                <a:ext uri="{FF2B5EF4-FFF2-40B4-BE49-F238E27FC236}">
                  <a16:creationId xmlns:a16="http://schemas.microsoft.com/office/drawing/2014/main" id="{CF81360C-08EB-4856-8C56-8CDEB019A5AF}"/>
                </a:ext>
              </a:extLst>
            </p:cNvPr>
            <p:cNvSpPr>
              <a:spLocks/>
            </p:cNvSpPr>
            <p:nvPr/>
          </p:nvSpPr>
          <p:spPr bwMode="auto">
            <a:xfrm>
              <a:off x="5010150" y="552451"/>
              <a:ext cx="990600" cy="935038"/>
            </a:xfrm>
            <a:custGeom>
              <a:avLst/>
              <a:gdLst>
                <a:gd name="T0" fmla="*/ 42 w 293"/>
                <a:gd name="T1" fmla="*/ 214 h 274"/>
                <a:gd name="T2" fmla="*/ 70 w 293"/>
                <a:gd name="T3" fmla="*/ 41 h 274"/>
                <a:gd name="T4" fmla="*/ 251 w 293"/>
                <a:gd name="T5" fmla="*/ 67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3" y="82"/>
                    <a:pt x="70" y="41"/>
                  </a:cubicBezTo>
                  <a:cubicBezTo>
                    <a:pt x="128" y="0"/>
                    <a:pt x="209" y="12"/>
                    <a:pt x="251" y="67"/>
                  </a:cubicBezTo>
                  <a:cubicBezTo>
                    <a:pt x="293" y="121"/>
                    <a:pt x="276" y="192"/>
                    <a:pt x="218" y="233"/>
                  </a:cubicBezTo>
                  <a:cubicBezTo>
                    <a:pt x="161" y="274"/>
                    <a:pt x="84" y="269"/>
                    <a:pt x="42" y="21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4" name="Groupe 23">
              <a:extLst>
                <a:ext uri="{FF2B5EF4-FFF2-40B4-BE49-F238E27FC236}">
                  <a16:creationId xmlns:a16="http://schemas.microsoft.com/office/drawing/2014/main" id="{C7C14E9F-49A0-4797-A231-83672DB6015D}"/>
                </a:ext>
              </a:extLst>
            </p:cNvPr>
            <p:cNvGrpSpPr/>
            <p:nvPr/>
          </p:nvGrpSpPr>
          <p:grpSpPr>
            <a:xfrm>
              <a:off x="5291138" y="730251"/>
              <a:ext cx="388938" cy="590550"/>
              <a:chOff x="5291138" y="730251"/>
              <a:chExt cx="388938" cy="590550"/>
            </a:xfrm>
          </p:grpSpPr>
          <p:sp>
            <p:nvSpPr>
              <p:cNvPr id="25" name="Rectangle 87">
                <a:extLst>
                  <a:ext uri="{FF2B5EF4-FFF2-40B4-BE49-F238E27FC236}">
                    <a16:creationId xmlns:a16="http://schemas.microsoft.com/office/drawing/2014/main" id="{DBBA98FC-8B11-4169-BAE7-1E6C43C035E1}"/>
                  </a:ext>
                </a:extLst>
              </p:cNvPr>
              <p:cNvSpPr>
                <a:spLocks noChangeArrowheads="1"/>
              </p:cNvSpPr>
              <p:nvPr/>
            </p:nvSpPr>
            <p:spPr bwMode="auto">
              <a:xfrm>
                <a:off x="5411788" y="1208088"/>
                <a:ext cx="149225" cy="77788"/>
              </a:xfrm>
              <a:prstGeom prst="rect">
                <a:avLst/>
              </a:prstGeom>
              <a:solidFill>
                <a:srgbClr val="44AD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88">
                <a:extLst>
                  <a:ext uri="{FF2B5EF4-FFF2-40B4-BE49-F238E27FC236}">
                    <a16:creationId xmlns:a16="http://schemas.microsoft.com/office/drawing/2014/main" id="{1BDC48BA-AD42-469E-BD02-B0D4B1D42361}"/>
                  </a:ext>
                </a:extLst>
              </p:cNvPr>
              <p:cNvSpPr>
                <a:spLocks/>
              </p:cNvSpPr>
              <p:nvPr/>
            </p:nvSpPr>
            <p:spPr bwMode="auto">
              <a:xfrm>
                <a:off x="5291138" y="730251"/>
                <a:ext cx="388938" cy="481013"/>
              </a:xfrm>
              <a:custGeom>
                <a:avLst/>
                <a:gdLst>
                  <a:gd name="T0" fmla="*/ 58 w 115"/>
                  <a:gd name="T1" fmla="*/ 0 h 141"/>
                  <a:gd name="T2" fmla="*/ 0 w 115"/>
                  <a:gd name="T3" fmla="*/ 57 h 141"/>
                  <a:gd name="T4" fmla="*/ 19 w 115"/>
                  <a:gd name="T5" fmla="*/ 100 h 141"/>
                  <a:gd name="T6" fmla="*/ 21 w 115"/>
                  <a:gd name="T7" fmla="*/ 101 h 141"/>
                  <a:gd name="T8" fmla="*/ 35 w 115"/>
                  <a:gd name="T9" fmla="*/ 133 h 141"/>
                  <a:gd name="T10" fmla="*/ 35 w 115"/>
                  <a:gd name="T11" fmla="*/ 139 h 141"/>
                  <a:gd name="T12" fmla="*/ 32 w 115"/>
                  <a:gd name="T13" fmla="*/ 139 h 141"/>
                  <a:gd name="T14" fmla="*/ 32 w 115"/>
                  <a:gd name="T15" fmla="*/ 141 h 141"/>
                  <a:gd name="T16" fmla="*/ 84 w 115"/>
                  <a:gd name="T17" fmla="*/ 141 h 141"/>
                  <a:gd name="T18" fmla="*/ 84 w 115"/>
                  <a:gd name="T19" fmla="*/ 139 h 141"/>
                  <a:gd name="T20" fmla="*/ 81 w 115"/>
                  <a:gd name="T21" fmla="*/ 139 h 141"/>
                  <a:gd name="T22" fmla="*/ 81 w 115"/>
                  <a:gd name="T23" fmla="*/ 133 h 141"/>
                  <a:gd name="T24" fmla="*/ 95 w 115"/>
                  <a:gd name="T25" fmla="*/ 101 h 141"/>
                  <a:gd name="T26" fmla="*/ 96 w 115"/>
                  <a:gd name="T27" fmla="*/ 100 h 141"/>
                  <a:gd name="T28" fmla="*/ 115 w 115"/>
                  <a:gd name="T29" fmla="*/ 57 h 141"/>
                  <a:gd name="T30" fmla="*/ 58 w 115"/>
                  <a:gd name="T3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41">
                    <a:moveTo>
                      <a:pt x="58" y="0"/>
                    </a:moveTo>
                    <a:cubicBezTo>
                      <a:pt x="26" y="0"/>
                      <a:pt x="0" y="26"/>
                      <a:pt x="0" y="57"/>
                    </a:cubicBezTo>
                    <a:cubicBezTo>
                      <a:pt x="0" y="73"/>
                      <a:pt x="7" y="89"/>
                      <a:pt x="19" y="100"/>
                    </a:cubicBezTo>
                    <a:cubicBezTo>
                      <a:pt x="21" y="101"/>
                      <a:pt x="21" y="101"/>
                      <a:pt x="21" y="101"/>
                    </a:cubicBezTo>
                    <a:cubicBezTo>
                      <a:pt x="30" y="109"/>
                      <a:pt x="35" y="121"/>
                      <a:pt x="35" y="133"/>
                    </a:cubicBezTo>
                    <a:cubicBezTo>
                      <a:pt x="35" y="139"/>
                      <a:pt x="35" y="139"/>
                      <a:pt x="35" y="139"/>
                    </a:cubicBezTo>
                    <a:cubicBezTo>
                      <a:pt x="32" y="139"/>
                      <a:pt x="32" y="139"/>
                      <a:pt x="32" y="139"/>
                    </a:cubicBezTo>
                    <a:cubicBezTo>
                      <a:pt x="32" y="141"/>
                      <a:pt x="32" y="141"/>
                      <a:pt x="32" y="141"/>
                    </a:cubicBezTo>
                    <a:cubicBezTo>
                      <a:pt x="84" y="141"/>
                      <a:pt x="84" y="141"/>
                      <a:pt x="84" y="141"/>
                    </a:cubicBezTo>
                    <a:cubicBezTo>
                      <a:pt x="84" y="139"/>
                      <a:pt x="84" y="139"/>
                      <a:pt x="84" y="139"/>
                    </a:cubicBezTo>
                    <a:cubicBezTo>
                      <a:pt x="81" y="139"/>
                      <a:pt x="81" y="139"/>
                      <a:pt x="81" y="139"/>
                    </a:cubicBezTo>
                    <a:cubicBezTo>
                      <a:pt x="81" y="133"/>
                      <a:pt x="81" y="133"/>
                      <a:pt x="81" y="133"/>
                    </a:cubicBezTo>
                    <a:cubicBezTo>
                      <a:pt x="81" y="121"/>
                      <a:pt x="86" y="109"/>
                      <a:pt x="95" y="101"/>
                    </a:cubicBezTo>
                    <a:cubicBezTo>
                      <a:pt x="96" y="100"/>
                      <a:pt x="96" y="100"/>
                      <a:pt x="96" y="100"/>
                    </a:cubicBezTo>
                    <a:cubicBezTo>
                      <a:pt x="108" y="89"/>
                      <a:pt x="115" y="73"/>
                      <a:pt x="115" y="57"/>
                    </a:cubicBezTo>
                    <a:cubicBezTo>
                      <a:pt x="115" y="26"/>
                      <a:pt x="89" y="0"/>
                      <a:pt x="58" y="0"/>
                    </a:cubicBezTo>
                    <a:close/>
                  </a:path>
                </a:pathLst>
              </a:custGeom>
              <a:solidFill>
                <a:srgbClr val="C4D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89">
                <a:extLst>
                  <a:ext uri="{FF2B5EF4-FFF2-40B4-BE49-F238E27FC236}">
                    <a16:creationId xmlns:a16="http://schemas.microsoft.com/office/drawing/2014/main" id="{BA13BB70-FA84-4FEB-9BBA-C7459F54694B}"/>
                  </a:ext>
                </a:extLst>
              </p:cNvPr>
              <p:cNvSpPr>
                <a:spLocks noChangeArrowheads="1"/>
              </p:cNvSpPr>
              <p:nvPr/>
            </p:nvSpPr>
            <p:spPr bwMode="auto">
              <a:xfrm>
                <a:off x="5399088" y="1220788"/>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90">
                <a:extLst>
                  <a:ext uri="{FF2B5EF4-FFF2-40B4-BE49-F238E27FC236}">
                    <a16:creationId xmlns:a16="http://schemas.microsoft.com/office/drawing/2014/main" id="{92C5B195-411D-499A-AEC7-1E7EC1D319FE}"/>
                  </a:ext>
                </a:extLst>
              </p:cNvPr>
              <p:cNvSpPr>
                <a:spLocks noChangeArrowheads="1"/>
              </p:cNvSpPr>
              <p:nvPr/>
            </p:nvSpPr>
            <p:spPr bwMode="auto">
              <a:xfrm>
                <a:off x="5399088" y="1244601"/>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91">
                <a:extLst>
                  <a:ext uri="{FF2B5EF4-FFF2-40B4-BE49-F238E27FC236}">
                    <a16:creationId xmlns:a16="http://schemas.microsoft.com/office/drawing/2014/main" id="{3C033B60-A12E-4994-B703-02E609C2BE2E}"/>
                  </a:ext>
                </a:extLst>
              </p:cNvPr>
              <p:cNvSpPr>
                <a:spLocks/>
              </p:cNvSpPr>
              <p:nvPr/>
            </p:nvSpPr>
            <p:spPr bwMode="auto">
              <a:xfrm>
                <a:off x="5449888" y="1282701"/>
                <a:ext cx="71438" cy="38100"/>
              </a:xfrm>
              <a:custGeom>
                <a:avLst/>
                <a:gdLst>
                  <a:gd name="T0" fmla="*/ 16 w 21"/>
                  <a:gd name="T1" fmla="*/ 11 h 11"/>
                  <a:gd name="T2" fmla="*/ 6 w 21"/>
                  <a:gd name="T3" fmla="*/ 11 h 11"/>
                  <a:gd name="T4" fmla="*/ 2 w 21"/>
                  <a:gd name="T5" fmla="*/ 10 h 11"/>
                  <a:gd name="T6" fmla="*/ 0 w 21"/>
                  <a:gd name="T7" fmla="*/ 6 h 11"/>
                  <a:gd name="T8" fmla="*/ 0 w 21"/>
                  <a:gd name="T9" fmla="*/ 0 h 11"/>
                  <a:gd name="T10" fmla="*/ 21 w 21"/>
                  <a:gd name="T11" fmla="*/ 0 h 11"/>
                  <a:gd name="T12" fmla="*/ 21 w 21"/>
                  <a:gd name="T13" fmla="*/ 6 h 11"/>
                  <a:gd name="T14" fmla="*/ 19 w 21"/>
                  <a:gd name="T15" fmla="*/ 10 h 11"/>
                  <a:gd name="T16" fmla="*/ 16 w 2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1">
                    <a:moveTo>
                      <a:pt x="16" y="11"/>
                    </a:moveTo>
                    <a:cubicBezTo>
                      <a:pt x="6" y="11"/>
                      <a:pt x="6" y="11"/>
                      <a:pt x="6" y="11"/>
                    </a:cubicBezTo>
                    <a:cubicBezTo>
                      <a:pt x="4" y="11"/>
                      <a:pt x="3" y="11"/>
                      <a:pt x="2" y="10"/>
                    </a:cubicBezTo>
                    <a:cubicBezTo>
                      <a:pt x="1" y="8"/>
                      <a:pt x="0" y="7"/>
                      <a:pt x="0" y="6"/>
                    </a:cubicBezTo>
                    <a:cubicBezTo>
                      <a:pt x="0" y="0"/>
                      <a:pt x="0" y="0"/>
                      <a:pt x="0" y="0"/>
                    </a:cubicBezTo>
                    <a:cubicBezTo>
                      <a:pt x="21" y="0"/>
                      <a:pt x="21" y="0"/>
                      <a:pt x="21" y="0"/>
                    </a:cubicBezTo>
                    <a:cubicBezTo>
                      <a:pt x="21" y="6"/>
                      <a:pt x="21" y="6"/>
                      <a:pt x="21" y="6"/>
                    </a:cubicBezTo>
                    <a:cubicBezTo>
                      <a:pt x="21" y="7"/>
                      <a:pt x="20" y="8"/>
                      <a:pt x="19" y="10"/>
                    </a:cubicBezTo>
                    <a:cubicBezTo>
                      <a:pt x="18" y="11"/>
                      <a:pt x="17" y="11"/>
                      <a:pt x="16" y="11"/>
                    </a:cubicBezTo>
                    <a:close/>
                  </a:path>
                </a:pathLst>
              </a:custGeom>
              <a:solidFill>
                <a:srgbClr val="44AD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92">
                <a:extLst>
                  <a:ext uri="{FF2B5EF4-FFF2-40B4-BE49-F238E27FC236}">
                    <a16:creationId xmlns:a16="http://schemas.microsoft.com/office/drawing/2014/main" id="{DD616579-B59C-4252-83B4-7E880AB9AD74}"/>
                  </a:ext>
                </a:extLst>
              </p:cNvPr>
              <p:cNvSpPr>
                <a:spLocks noChangeArrowheads="1"/>
              </p:cNvSpPr>
              <p:nvPr/>
            </p:nvSpPr>
            <p:spPr bwMode="auto">
              <a:xfrm>
                <a:off x="5341938" y="781051"/>
                <a:ext cx="287338" cy="29051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93">
                <a:extLst>
                  <a:ext uri="{FF2B5EF4-FFF2-40B4-BE49-F238E27FC236}">
                    <a16:creationId xmlns:a16="http://schemas.microsoft.com/office/drawing/2014/main" id="{4FA814A8-6A39-4EF4-859E-2D233CE93AF8}"/>
                  </a:ext>
                </a:extLst>
              </p:cNvPr>
              <p:cNvSpPr>
                <a:spLocks/>
              </p:cNvSpPr>
              <p:nvPr/>
            </p:nvSpPr>
            <p:spPr bwMode="auto">
              <a:xfrm>
                <a:off x="5446713" y="876301"/>
                <a:ext cx="155575" cy="157163"/>
              </a:xfrm>
              <a:custGeom>
                <a:avLst/>
                <a:gdLst>
                  <a:gd name="T0" fmla="*/ 22 w 46"/>
                  <a:gd name="T1" fmla="*/ 46 h 46"/>
                  <a:gd name="T2" fmla="*/ 31 w 46"/>
                  <a:gd name="T3" fmla="*/ 44 h 46"/>
                  <a:gd name="T4" fmla="*/ 32 w 46"/>
                  <a:gd name="T5" fmla="*/ 43 h 46"/>
                  <a:gd name="T6" fmla="*/ 32 w 46"/>
                  <a:gd name="T7" fmla="*/ 39 h 46"/>
                  <a:gd name="T8" fmla="*/ 33 w 46"/>
                  <a:gd name="T9" fmla="*/ 38 h 46"/>
                  <a:gd name="T10" fmla="*/ 33 w 46"/>
                  <a:gd name="T11" fmla="*/ 38 h 46"/>
                  <a:gd name="T12" fmla="*/ 35 w 46"/>
                  <a:gd name="T13" fmla="*/ 36 h 46"/>
                  <a:gd name="T14" fmla="*/ 35 w 46"/>
                  <a:gd name="T15" fmla="*/ 36 h 46"/>
                  <a:gd name="T16" fmla="*/ 37 w 46"/>
                  <a:gd name="T17" fmla="*/ 35 h 46"/>
                  <a:gd name="T18" fmla="*/ 40 w 46"/>
                  <a:gd name="T19" fmla="*/ 36 h 46"/>
                  <a:gd name="T20" fmla="*/ 43 w 46"/>
                  <a:gd name="T21" fmla="*/ 35 h 46"/>
                  <a:gd name="T22" fmla="*/ 46 w 46"/>
                  <a:gd name="T23" fmla="*/ 27 h 46"/>
                  <a:gd name="T24" fmla="*/ 45 w 46"/>
                  <a:gd name="T25" fmla="*/ 25 h 46"/>
                  <a:gd name="T26" fmla="*/ 42 w 46"/>
                  <a:gd name="T27" fmla="*/ 23 h 46"/>
                  <a:gd name="T28" fmla="*/ 41 w 46"/>
                  <a:gd name="T29" fmla="*/ 21 h 46"/>
                  <a:gd name="T30" fmla="*/ 41 w 46"/>
                  <a:gd name="T31" fmla="*/ 19 h 46"/>
                  <a:gd name="T32" fmla="*/ 41 w 46"/>
                  <a:gd name="T33" fmla="*/ 17 h 46"/>
                  <a:gd name="T34" fmla="*/ 43 w 46"/>
                  <a:gd name="T35" fmla="*/ 14 h 46"/>
                  <a:gd name="T36" fmla="*/ 43 w 46"/>
                  <a:gd name="T37" fmla="*/ 12 h 46"/>
                  <a:gd name="T38" fmla="*/ 38 w 46"/>
                  <a:gd name="T39" fmla="*/ 5 h 46"/>
                  <a:gd name="T40" fmla="*/ 36 w 46"/>
                  <a:gd name="T41" fmla="*/ 5 h 46"/>
                  <a:gd name="T42" fmla="*/ 32 w 46"/>
                  <a:gd name="T43" fmla="*/ 7 h 46"/>
                  <a:gd name="T44" fmla="*/ 31 w 46"/>
                  <a:gd name="T45" fmla="*/ 6 h 46"/>
                  <a:gd name="T46" fmla="*/ 28 w 46"/>
                  <a:gd name="T47" fmla="*/ 5 h 46"/>
                  <a:gd name="T48" fmla="*/ 27 w 46"/>
                  <a:gd name="T49" fmla="*/ 5 h 46"/>
                  <a:gd name="T50" fmla="*/ 26 w 46"/>
                  <a:gd name="T51" fmla="*/ 1 h 46"/>
                  <a:gd name="T52" fmla="*/ 24 w 46"/>
                  <a:gd name="T53" fmla="*/ 0 h 46"/>
                  <a:gd name="T54" fmla="*/ 15 w 46"/>
                  <a:gd name="T55" fmla="*/ 1 h 46"/>
                  <a:gd name="T56" fmla="*/ 14 w 46"/>
                  <a:gd name="T57" fmla="*/ 3 h 46"/>
                  <a:gd name="T58" fmla="*/ 14 w 46"/>
                  <a:gd name="T59" fmla="*/ 7 h 46"/>
                  <a:gd name="T60" fmla="*/ 13 w 46"/>
                  <a:gd name="T61" fmla="*/ 8 h 46"/>
                  <a:gd name="T62" fmla="*/ 13 w 46"/>
                  <a:gd name="T63" fmla="*/ 8 h 46"/>
                  <a:gd name="T64" fmla="*/ 11 w 46"/>
                  <a:gd name="T65" fmla="*/ 9 h 46"/>
                  <a:gd name="T66" fmla="*/ 11 w 46"/>
                  <a:gd name="T67" fmla="*/ 9 h 46"/>
                  <a:gd name="T68" fmla="*/ 9 w 46"/>
                  <a:gd name="T69" fmla="*/ 10 h 46"/>
                  <a:gd name="T70" fmla="*/ 6 w 46"/>
                  <a:gd name="T71" fmla="*/ 10 h 46"/>
                  <a:gd name="T72" fmla="*/ 4 w 46"/>
                  <a:gd name="T73" fmla="*/ 10 h 46"/>
                  <a:gd name="T74" fmla="*/ 1 w 46"/>
                  <a:gd name="T75" fmla="*/ 18 h 46"/>
                  <a:gd name="T76" fmla="*/ 1 w 46"/>
                  <a:gd name="T77" fmla="*/ 21 h 46"/>
                  <a:gd name="T78" fmla="*/ 5 w 46"/>
                  <a:gd name="T79" fmla="*/ 23 h 46"/>
                  <a:gd name="T80" fmla="*/ 5 w 46"/>
                  <a:gd name="T81" fmla="*/ 24 h 46"/>
                  <a:gd name="T82" fmla="*/ 6 w 46"/>
                  <a:gd name="T83" fmla="*/ 27 h 46"/>
                  <a:gd name="T84" fmla="*/ 5 w 46"/>
                  <a:gd name="T85" fmla="*/ 28 h 46"/>
                  <a:gd name="T86" fmla="*/ 3 w 46"/>
                  <a:gd name="T87" fmla="*/ 31 h 46"/>
                  <a:gd name="T88" fmla="*/ 3 w 46"/>
                  <a:gd name="T89" fmla="*/ 33 h 46"/>
                  <a:gd name="T90" fmla="*/ 8 w 46"/>
                  <a:gd name="T91" fmla="*/ 40 h 46"/>
                  <a:gd name="T92" fmla="*/ 10 w 46"/>
                  <a:gd name="T93" fmla="*/ 40 h 46"/>
                  <a:gd name="T94" fmla="*/ 14 w 46"/>
                  <a:gd name="T95" fmla="*/ 39 h 46"/>
                  <a:gd name="T96" fmla="*/ 15 w 46"/>
                  <a:gd name="T97" fmla="*/ 39 h 46"/>
                  <a:gd name="T98" fmla="*/ 18 w 46"/>
                  <a:gd name="T99" fmla="*/ 40 h 46"/>
                  <a:gd name="T100" fmla="*/ 19 w 46"/>
                  <a:gd name="T101" fmla="*/ 41 h 46"/>
                  <a:gd name="T102" fmla="*/ 20 w 46"/>
                  <a:gd name="T103" fmla="*/ 44 h 46"/>
                  <a:gd name="T104" fmla="*/ 22 w 46"/>
                  <a:gd name="T10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46">
                    <a:moveTo>
                      <a:pt x="22" y="46"/>
                    </a:moveTo>
                    <a:cubicBezTo>
                      <a:pt x="25" y="45"/>
                      <a:pt x="28" y="45"/>
                      <a:pt x="31" y="44"/>
                    </a:cubicBezTo>
                    <a:cubicBezTo>
                      <a:pt x="32" y="44"/>
                      <a:pt x="32" y="43"/>
                      <a:pt x="32" y="43"/>
                    </a:cubicBezTo>
                    <a:cubicBezTo>
                      <a:pt x="32" y="41"/>
                      <a:pt x="32" y="39"/>
                      <a:pt x="32" y="39"/>
                    </a:cubicBezTo>
                    <a:cubicBezTo>
                      <a:pt x="32" y="38"/>
                      <a:pt x="33" y="38"/>
                      <a:pt x="33" y="38"/>
                    </a:cubicBezTo>
                    <a:cubicBezTo>
                      <a:pt x="33" y="38"/>
                      <a:pt x="33" y="38"/>
                      <a:pt x="33" y="38"/>
                    </a:cubicBezTo>
                    <a:cubicBezTo>
                      <a:pt x="34" y="37"/>
                      <a:pt x="35" y="37"/>
                      <a:pt x="35" y="36"/>
                    </a:cubicBezTo>
                    <a:cubicBezTo>
                      <a:pt x="35" y="36"/>
                      <a:pt x="35" y="36"/>
                      <a:pt x="35" y="36"/>
                    </a:cubicBezTo>
                    <a:cubicBezTo>
                      <a:pt x="36" y="35"/>
                      <a:pt x="36" y="35"/>
                      <a:pt x="37" y="35"/>
                    </a:cubicBezTo>
                    <a:cubicBezTo>
                      <a:pt x="38" y="35"/>
                      <a:pt x="39" y="35"/>
                      <a:pt x="40" y="36"/>
                    </a:cubicBezTo>
                    <a:cubicBezTo>
                      <a:pt x="41" y="36"/>
                      <a:pt x="42" y="36"/>
                      <a:pt x="43" y="35"/>
                    </a:cubicBezTo>
                    <a:cubicBezTo>
                      <a:pt x="44" y="32"/>
                      <a:pt x="45" y="30"/>
                      <a:pt x="46" y="27"/>
                    </a:cubicBezTo>
                    <a:cubicBezTo>
                      <a:pt x="46" y="26"/>
                      <a:pt x="46" y="25"/>
                      <a:pt x="45" y="25"/>
                    </a:cubicBezTo>
                    <a:cubicBezTo>
                      <a:pt x="43" y="24"/>
                      <a:pt x="42" y="23"/>
                      <a:pt x="42" y="23"/>
                    </a:cubicBezTo>
                    <a:cubicBezTo>
                      <a:pt x="41" y="23"/>
                      <a:pt x="41" y="22"/>
                      <a:pt x="41" y="21"/>
                    </a:cubicBezTo>
                    <a:cubicBezTo>
                      <a:pt x="41" y="20"/>
                      <a:pt x="41" y="20"/>
                      <a:pt x="41" y="19"/>
                    </a:cubicBezTo>
                    <a:cubicBezTo>
                      <a:pt x="41" y="18"/>
                      <a:pt x="40" y="17"/>
                      <a:pt x="41" y="17"/>
                    </a:cubicBezTo>
                    <a:cubicBezTo>
                      <a:pt x="41" y="17"/>
                      <a:pt x="42" y="16"/>
                      <a:pt x="43" y="14"/>
                    </a:cubicBezTo>
                    <a:cubicBezTo>
                      <a:pt x="44" y="14"/>
                      <a:pt x="44" y="13"/>
                      <a:pt x="43" y="12"/>
                    </a:cubicBezTo>
                    <a:cubicBezTo>
                      <a:pt x="38" y="5"/>
                      <a:pt x="38" y="5"/>
                      <a:pt x="38" y="5"/>
                    </a:cubicBezTo>
                    <a:cubicBezTo>
                      <a:pt x="38" y="5"/>
                      <a:pt x="37" y="5"/>
                      <a:pt x="36" y="5"/>
                    </a:cubicBezTo>
                    <a:cubicBezTo>
                      <a:pt x="34" y="6"/>
                      <a:pt x="33" y="6"/>
                      <a:pt x="32" y="7"/>
                    </a:cubicBezTo>
                    <a:cubicBezTo>
                      <a:pt x="32" y="7"/>
                      <a:pt x="31" y="7"/>
                      <a:pt x="31" y="6"/>
                    </a:cubicBezTo>
                    <a:cubicBezTo>
                      <a:pt x="30" y="6"/>
                      <a:pt x="29" y="6"/>
                      <a:pt x="28" y="5"/>
                    </a:cubicBezTo>
                    <a:cubicBezTo>
                      <a:pt x="28" y="5"/>
                      <a:pt x="27" y="5"/>
                      <a:pt x="27" y="5"/>
                    </a:cubicBezTo>
                    <a:cubicBezTo>
                      <a:pt x="27" y="4"/>
                      <a:pt x="26" y="3"/>
                      <a:pt x="26" y="1"/>
                    </a:cubicBezTo>
                    <a:cubicBezTo>
                      <a:pt x="26" y="0"/>
                      <a:pt x="25" y="0"/>
                      <a:pt x="24" y="0"/>
                    </a:cubicBezTo>
                    <a:cubicBezTo>
                      <a:pt x="21" y="0"/>
                      <a:pt x="18" y="1"/>
                      <a:pt x="15" y="1"/>
                    </a:cubicBezTo>
                    <a:cubicBezTo>
                      <a:pt x="15" y="1"/>
                      <a:pt x="14" y="2"/>
                      <a:pt x="14" y="3"/>
                    </a:cubicBezTo>
                    <a:cubicBezTo>
                      <a:pt x="14" y="4"/>
                      <a:pt x="14" y="6"/>
                      <a:pt x="14" y="7"/>
                    </a:cubicBezTo>
                    <a:cubicBezTo>
                      <a:pt x="14" y="7"/>
                      <a:pt x="13" y="7"/>
                      <a:pt x="13" y="8"/>
                    </a:cubicBezTo>
                    <a:cubicBezTo>
                      <a:pt x="13" y="8"/>
                      <a:pt x="13" y="8"/>
                      <a:pt x="13" y="8"/>
                    </a:cubicBezTo>
                    <a:cubicBezTo>
                      <a:pt x="12" y="8"/>
                      <a:pt x="12" y="9"/>
                      <a:pt x="11" y="9"/>
                    </a:cubicBezTo>
                    <a:cubicBezTo>
                      <a:pt x="11" y="9"/>
                      <a:pt x="11" y="9"/>
                      <a:pt x="11" y="9"/>
                    </a:cubicBezTo>
                    <a:cubicBezTo>
                      <a:pt x="10" y="10"/>
                      <a:pt x="10" y="10"/>
                      <a:pt x="9" y="10"/>
                    </a:cubicBezTo>
                    <a:cubicBezTo>
                      <a:pt x="9" y="10"/>
                      <a:pt x="7" y="10"/>
                      <a:pt x="6" y="10"/>
                    </a:cubicBezTo>
                    <a:cubicBezTo>
                      <a:pt x="5" y="9"/>
                      <a:pt x="4" y="10"/>
                      <a:pt x="4" y="10"/>
                    </a:cubicBezTo>
                    <a:cubicBezTo>
                      <a:pt x="3" y="13"/>
                      <a:pt x="2" y="16"/>
                      <a:pt x="1" y="18"/>
                    </a:cubicBezTo>
                    <a:cubicBezTo>
                      <a:pt x="0" y="19"/>
                      <a:pt x="1" y="20"/>
                      <a:pt x="1" y="21"/>
                    </a:cubicBezTo>
                    <a:cubicBezTo>
                      <a:pt x="3" y="21"/>
                      <a:pt x="4" y="22"/>
                      <a:pt x="5" y="23"/>
                    </a:cubicBezTo>
                    <a:cubicBezTo>
                      <a:pt x="5" y="23"/>
                      <a:pt x="5" y="23"/>
                      <a:pt x="5" y="24"/>
                    </a:cubicBezTo>
                    <a:cubicBezTo>
                      <a:pt x="5" y="25"/>
                      <a:pt x="5" y="26"/>
                      <a:pt x="6" y="27"/>
                    </a:cubicBezTo>
                    <a:cubicBezTo>
                      <a:pt x="6" y="27"/>
                      <a:pt x="6" y="28"/>
                      <a:pt x="5" y="28"/>
                    </a:cubicBezTo>
                    <a:cubicBezTo>
                      <a:pt x="5" y="29"/>
                      <a:pt x="4" y="30"/>
                      <a:pt x="3" y="31"/>
                    </a:cubicBezTo>
                    <a:cubicBezTo>
                      <a:pt x="3" y="32"/>
                      <a:pt x="2" y="33"/>
                      <a:pt x="3" y="33"/>
                    </a:cubicBezTo>
                    <a:cubicBezTo>
                      <a:pt x="8" y="40"/>
                      <a:pt x="8" y="40"/>
                      <a:pt x="8" y="40"/>
                    </a:cubicBezTo>
                    <a:cubicBezTo>
                      <a:pt x="9" y="41"/>
                      <a:pt x="10" y="41"/>
                      <a:pt x="10" y="40"/>
                    </a:cubicBezTo>
                    <a:cubicBezTo>
                      <a:pt x="12" y="40"/>
                      <a:pt x="13" y="39"/>
                      <a:pt x="14" y="39"/>
                    </a:cubicBezTo>
                    <a:cubicBezTo>
                      <a:pt x="14" y="38"/>
                      <a:pt x="15" y="39"/>
                      <a:pt x="15" y="39"/>
                    </a:cubicBezTo>
                    <a:cubicBezTo>
                      <a:pt x="16" y="39"/>
                      <a:pt x="17" y="40"/>
                      <a:pt x="18" y="40"/>
                    </a:cubicBezTo>
                    <a:cubicBezTo>
                      <a:pt x="18" y="40"/>
                      <a:pt x="19" y="40"/>
                      <a:pt x="19" y="41"/>
                    </a:cubicBezTo>
                    <a:cubicBezTo>
                      <a:pt x="19" y="41"/>
                      <a:pt x="20" y="43"/>
                      <a:pt x="20" y="44"/>
                    </a:cubicBezTo>
                    <a:cubicBezTo>
                      <a:pt x="21" y="45"/>
                      <a:pt x="21" y="46"/>
                      <a:pt x="22" y="4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94">
                <a:extLst>
                  <a:ext uri="{FF2B5EF4-FFF2-40B4-BE49-F238E27FC236}">
                    <a16:creationId xmlns:a16="http://schemas.microsoft.com/office/drawing/2014/main" id="{E9189146-CA9F-4BB4-AAE2-4CEF6F8A610A}"/>
                  </a:ext>
                </a:extLst>
              </p:cNvPr>
              <p:cNvSpPr>
                <a:spLocks/>
              </p:cNvSpPr>
              <p:nvPr/>
            </p:nvSpPr>
            <p:spPr bwMode="auto">
              <a:xfrm>
                <a:off x="5473700" y="903288"/>
                <a:ext cx="101600" cy="100013"/>
              </a:xfrm>
              <a:custGeom>
                <a:avLst/>
                <a:gdLst>
                  <a:gd name="T0" fmla="*/ 22 w 30"/>
                  <a:gd name="T1" fmla="*/ 28 h 29"/>
                  <a:gd name="T2" fmla="*/ 29 w 30"/>
                  <a:gd name="T3" fmla="*/ 17 h 29"/>
                  <a:gd name="T4" fmla="*/ 26 w 30"/>
                  <a:gd name="T5" fmla="*/ 5 h 29"/>
                  <a:gd name="T6" fmla="*/ 25 w 30"/>
                  <a:gd name="T7" fmla="*/ 4 h 29"/>
                  <a:gd name="T8" fmla="*/ 25 w 30"/>
                  <a:gd name="T9" fmla="*/ 4 h 29"/>
                  <a:gd name="T10" fmla="*/ 17 w 30"/>
                  <a:gd name="T11" fmla="*/ 1 h 29"/>
                  <a:gd name="T12" fmla="*/ 1 w 30"/>
                  <a:gd name="T13" fmla="*/ 13 h 29"/>
                  <a:gd name="T14" fmla="*/ 14 w 30"/>
                  <a:gd name="T15" fmla="*/ 29 h 29"/>
                  <a:gd name="T16" fmla="*/ 22 w 30"/>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9">
                    <a:moveTo>
                      <a:pt x="22" y="28"/>
                    </a:moveTo>
                    <a:cubicBezTo>
                      <a:pt x="26" y="25"/>
                      <a:pt x="26" y="18"/>
                      <a:pt x="29" y="17"/>
                    </a:cubicBezTo>
                    <a:cubicBezTo>
                      <a:pt x="29" y="17"/>
                      <a:pt x="30" y="11"/>
                      <a:pt x="26" y="5"/>
                    </a:cubicBezTo>
                    <a:cubicBezTo>
                      <a:pt x="26" y="5"/>
                      <a:pt x="25" y="4"/>
                      <a:pt x="25" y="4"/>
                    </a:cubicBezTo>
                    <a:cubicBezTo>
                      <a:pt x="25" y="4"/>
                      <a:pt x="25" y="4"/>
                      <a:pt x="25" y="4"/>
                    </a:cubicBezTo>
                    <a:cubicBezTo>
                      <a:pt x="22" y="2"/>
                      <a:pt x="20" y="1"/>
                      <a:pt x="17" y="1"/>
                    </a:cubicBezTo>
                    <a:cubicBezTo>
                      <a:pt x="9" y="0"/>
                      <a:pt x="2" y="5"/>
                      <a:pt x="1" y="13"/>
                    </a:cubicBezTo>
                    <a:cubicBezTo>
                      <a:pt x="0" y="21"/>
                      <a:pt x="6" y="28"/>
                      <a:pt x="14" y="29"/>
                    </a:cubicBezTo>
                    <a:cubicBezTo>
                      <a:pt x="17" y="29"/>
                      <a:pt x="19" y="29"/>
                      <a:pt x="22" y="2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95">
                <a:extLst>
                  <a:ext uri="{FF2B5EF4-FFF2-40B4-BE49-F238E27FC236}">
                    <a16:creationId xmlns:a16="http://schemas.microsoft.com/office/drawing/2014/main" id="{1A7712CA-760C-4FAF-81CC-E611C02D59DE}"/>
                  </a:ext>
                </a:extLst>
              </p:cNvPr>
              <p:cNvSpPr>
                <a:spLocks/>
              </p:cNvSpPr>
              <p:nvPr/>
            </p:nvSpPr>
            <p:spPr bwMode="auto">
              <a:xfrm>
                <a:off x="5372100" y="814388"/>
                <a:ext cx="111125" cy="112713"/>
              </a:xfrm>
              <a:custGeom>
                <a:avLst/>
                <a:gdLst>
                  <a:gd name="T0" fmla="*/ 16 w 33"/>
                  <a:gd name="T1" fmla="*/ 33 h 33"/>
                  <a:gd name="T2" fmla="*/ 22 w 33"/>
                  <a:gd name="T3" fmla="*/ 32 h 33"/>
                  <a:gd name="T4" fmla="*/ 23 w 33"/>
                  <a:gd name="T5" fmla="*/ 31 h 33"/>
                  <a:gd name="T6" fmla="*/ 23 w 33"/>
                  <a:gd name="T7" fmla="*/ 28 h 33"/>
                  <a:gd name="T8" fmla="*/ 24 w 33"/>
                  <a:gd name="T9" fmla="*/ 28 h 33"/>
                  <a:gd name="T10" fmla="*/ 24 w 33"/>
                  <a:gd name="T11" fmla="*/ 28 h 33"/>
                  <a:gd name="T12" fmla="*/ 26 w 33"/>
                  <a:gd name="T13" fmla="*/ 26 h 33"/>
                  <a:gd name="T14" fmla="*/ 26 w 33"/>
                  <a:gd name="T15" fmla="*/ 26 h 33"/>
                  <a:gd name="T16" fmla="*/ 27 w 33"/>
                  <a:gd name="T17" fmla="*/ 26 h 33"/>
                  <a:gd name="T18" fmla="*/ 29 w 33"/>
                  <a:gd name="T19" fmla="*/ 26 h 33"/>
                  <a:gd name="T20" fmla="*/ 31 w 33"/>
                  <a:gd name="T21" fmla="*/ 26 h 33"/>
                  <a:gd name="T22" fmla="*/ 33 w 33"/>
                  <a:gd name="T23" fmla="*/ 20 h 33"/>
                  <a:gd name="T24" fmla="*/ 32 w 33"/>
                  <a:gd name="T25" fmla="*/ 18 h 33"/>
                  <a:gd name="T26" fmla="*/ 30 w 33"/>
                  <a:gd name="T27" fmla="*/ 17 h 33"/>
                  <a:gd name="T28" fmla="*/ 30 w 33"/>
                  <a:gd name="T29" fmla="*/ 16 h 33"/>
                  <a:gd name="T30" fmla="*/ 29 w 33"/>
                  <a:gd name="T31" fmla="*/ 14 h 33"/>
                  <a:gd name="T32" fmla="*/ 29 w 33"/>
                  <a:gd name="T33" fmla="*/ 13 h 33"/>
                  <a:gd name="T34" fmla="*/ 31 w 33"/>
                  <a:gd name="T35" fmla="*/ 11 h 33"/>
                  <a:gd name="T36" fmla="*/ 31 w 33"/>
                  <a:gd name="T37" fmla="*/ 9 h 33"/>
                  <a:gd name="T38" fmla="*/ 27 w 33"/>
                  <a:gd name="T39" fmla="*/ 4 h 33"/>
                  <a:gd name="T40" fmla="*/ 26 w 33"/>
                  <a:gd name="T41" fmla="*/ 4 h 33"/>
                  <a:gd name="T42" fmla="*/ 23 w 33"/>
                  <a:gd name="T43" fmla="*/ 5 h 33"/>
                  <a:gd name="T44" fmla="*/ 22 w 33"/>
                  <a:gd name="T45" fmla="*/ 5 h 33"/>
                  <a:gd name="T46" fmla="*/ 21 w 33"/>
                  <a:gd name="T47" fmla="*/ 4 h 33"/>
                  <a:gd name="T48" fmla="*/ 19 w 33"/>
                  <a:gd name="T49" fmla="*/ 4 h 33"/>
                  <a:gd name="T50" fmla="*/ 19 w 33"/>
                  <a:gd name="T51" fmla="*/ 1 h 33"/>
                  <a:gd name="T52" fmla="*/ 17 w 33"/>
                  <a:gd name="T53" fmla="*/ 0 h 33"/>
                  <a:gd name="T54" fmla="*/ 11 w 33"/>
                  <a:gd name="T55" fmla="*/ 1 h 33"/>
                  <a:gd name="T56" fmla="*/ 10 w 33"/>
                  <a:gd name="T57" fmla="*/ 2 h 33"/>
                  <a:gd name="T58" fmla="*/ 10 w 33"/>
                  <a:gd name="T59" fmla="*/ 5 h 33"/>
                  <a:gd name="T60" fmla="*/ 9 w 33"/>
                  <a:gd name="T61" fmla="*/ 6 h 33"/>
                  <a:gd name="T62" fmla="*/ 9 w 33"/>
                  <a:gd name="T63" fmla="*/ 6 h 33"/>
                  <a:gd name="T64" fmla="*/ 8 w 33"/>
                  <a:gd name="T65" fmla="*/ 7 h 33"/>
                  <a:gd name="T66" fmla="*/ 8 w 33"/>
                  <a:gd name="T67" fmla="*/ 7 h 33"/>
                  <a:gd name="T68" fmla="*/ 7 w 33"/>
                  <a:gd name="T69" fmla="*/ 8 h 33"/>
                  <a:gd name="T70" fmla="*/ 4 w 33"/>
                  <a:gd name="T71" fmla="*/ 7 h 33"/>
                  <a:gd name="T72" fmla="*/ 3 w 33"/>
                  <a:gd name="T73" fmla="*/ 8 h 33"/>
                  <a:gd name="T74" fmla="*/ 0 w 33"/>
                  <a:gd name="T75" fmla="*/ 14 h 33"/>
                  <a:gd name="T76" fmla="*/ 1 w 33"/>
                  <a:gd name="T77" fmla="*/ 15 h 33"/>
                  <a:gd name="T78" fmla="*/ 3 w 33"/>
                  <a:gd name="T79" fmla="*/ 17 h 33"/>
                  <a:gd name="T80" fmla="*/ 4 w 33"/>
                  <a:gd name="T81" fmla="*/ 18 h 33"/>
                  <a:gd name="T82" fmla="*/ 4 w 33"/>
                  <a:gd name="T83" fmla="*/ 20 h 33"/>
                  <a:gd name="T84" fmla="*/ 4 w 33"/>
                  <a:gd name="T85" fmla="*/ 21 h 33"/>
                  <a:gd name="T86" fmla="*/ 2 w 33"/>
                  <a:gd name="T87" fmla="*/ 23 h 33"/>
                  <a:gd name="T88" fmla="*/ 2 w 33"/>
                  <a:gd name="T89" fmla="*/ 24 h 33"/>
                  <a:gd name="T90" fmla="*/ 6 w 33"/>
                  <a:gd name="T91" fmla="*/ 29 h 33"/>
                  <a:gd name="T92" fmla="*/ 8 w 33"/>
                  <a:gd name="T93" fmla="*/ 30 h 33"/>
                  <a:gd name="T94" fmla="*/ 10 w 33"/>
                  <a:gd name="T95" fmla="*/ 28 h 33"/>
                  <a:gd name="T96" fmla="*/ 11 w 33"/>
                  <a:gd name="T97" fmla="*/ 28 h 33"/>
                  <a:gd name="T98" fmla="*/ 13 w 33"/>
                  <a:gd name="T99" fmla="*/ 29 h 33"/>
                  <a:gd name="T100" fmla="*/ 14 w 33"/>
                  <a:gd name="T101" fmla="*/ 30 h 33"/>
                  <a:gd name="T102" fmla="*/ 15 w 33"/>
                  <a:gd name="T103" fmla="*/ 32 h 33"/>
                  <a:gd name="T104" fmla="*/ 16 w 33"/>
                  <a:gd name="T10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 h="33">
                    <a:moveTo>
                      <a:pt x="16" y="33"/>
                    </a:moveTo>
                    <a:cubicBezTo>
                      <a:pt x="18" y="33"/>
                      <a:pt x="20" y="33"/>
                      <a:pt x="22" y="32"/>
                    </a:cubicBezTo>
                    <a:cubicBezTo>
                      <a:pt x="23" y="32"/>
                      <a:pt x="23" y="32"/>
                      <a:pt x="23" y="31"/>
                    </a:cubicBezTo>
                    <a:cubicBezTo>
                      <a:pt x="23" y="30"/>
                      <a:pt x="23" y="29"/>
                      <a:pt x="23" y="28"/>
                    </a:cubicBezTo>
                    <a:cubicBezTo>
                      <a:pt x="23" y="28"/>
                      <a:pt x="24" y="28"/>
                      <a:pt x="24" y="28"/>
                    </a:cubicBezTo>
                    <a:cubicBezTo>
                      <a:pt x="24" y="28"/>
                      <a:pt x="24" y="28"/>
                      <a:pt x="24" y="28"/>
                    </a:cubicBezTo>
                    <a:cubicBezTo>
                      <a:pt x="25" y="27"/>
                      <a:pt x="25" y="27"/>
                      <a:pt x="26" y="26"/>
                    </a:cubicBezTo>
                    <a:cubicBezTo>
                      <a:pt x="26" y="26"/>
                      <a:pt x="26" y="26"/>
                      <a:pt x="26" y="26"/>
                    </a:cubicBezTo>
                    <a:cubicBezTo>
                      <a:pt x="26" y="26"/>
                      <a:pt x="26" y="26"/>
                      <a:pt x="27" y="26"/>
                    </a:cubicBezTo>
                    <a:cubicBezTo>
                      <a:pt x="27" y="26"/>
                      <a:pt x="28" y="26"/>
                      <a:pt x="29" y="26"/>
                    </a:cubicBezTo>
                    <a:cubicBezTo>
                      <a:pt x="30" y="26"/>
                      <a:pt x="30" y="26"/>
                      <a:pt x="31" y="26"/>
                    </a:cubicBezTo>
                    <a:cubicBezTo>
                      <a:pt x="31" y="24"/>
                      <a:pt x="32" y="22"/>
                      <a:pt x="33" y="20"/>
                    </a:cubicBezTo>
                    <a:cubicBezTo>
                      <a:pt x="33" y="19"/>
                      <a:pt x="33" y="19"/>
                      <a:pt x="32" y="18"/>
                    </a:cubicBezTo>
                    <a:cubicBezTo>
                      <a:pt x="31" y="18"/>
                      <a:pt x="30" y="17"/>
                      <a:pt x="30" y="17"/>
                    </a:cubicBezTo>
                    <a:cubicBezTo>
                      <a:pt x="30" y="17"/>
                      <a:pt x="30" y="16"/>
                      <a:pt x="30" y="16"/>
                    </a:cubicBezTo>
                    <a:cubicBezTo>
                      <a:pt x="30" y="15"/>
                      <a:pt x="30" y="15"/>
                      <a:pt x="29" y="14"/>
                    </a:cubicBezTo>
                    <a:cubicBezTo>
                      <a:pt x="29" y="13"/>
                      <a:pt x="29" y="13"/>
                      <a:pt x="29" y="13"/>
                    </a:cubicBezTo>
                    <a:cubicBezTo>
                      <a:pt x="30" y="12"/>
                      <a:pt x="30" y="12"/>
                      <a:pt x="31" y="11"/>
                    </a:cubicBezTo>
                    <a:cubicBezTo>
                      <a:pt x="32" y="10"/>
                      <a:pt x="32" y="10"/>
                      <a:pt x="31" y="9"/>
                    </a:cubicBezTo>
                    <a:cubicBezTo>
                      <a:pt x="27" y="4"/>
                      <a:pt x="27" y="4"/>
                      <a:pt x="27" y="4"/>
                    </a:cubicBezTo>
                    <a:cubicBezTo>
                      <a:pt x="27" y="4"/>
                      <a:pt x="26" y="4"/>
                      <a:pt x="26" y="4"/>
                    </a:cubicBezTo>
                    <a:cubicBezTo>
                      <a:pt x="25" y="5"/>
                      <a:pt x="24" y="5"/>
                      <a:pt x="23" y="5"/>
                    </a:cubicBezTo>
                    <a:cubicBezTo>
                      <a:pt x="23" y="5"/>
                      <a:pt x="23" y="5"/>
                      <a:pt x="22" y="5"/>
                    </a:cubicBezTo>
                    <a:cubicBezTo>
                      <a:pt x="22" y="5"/>
                      <a:pt x="21" y="5"/>
                      <a:pt x="21" y="4"/>
                    </a:cubicBezTo>
                    <a:cubicBezTo>
                      <a:pt x="20" y="4"/>
                      <a:pt x="20" y="4"/>
                      <a:pt x="19" y="4"/>
                    </a:cubicBezTo>
                    <a:cubicBezTo>
                      <a:pt x="19" y="3"/>
                      <a:pt x="19" y="2"/>
                      <a:pt x="19" y="1"/>
                    </a:cubicBezTo>
                    <a:cubicBezTo>
                      <a:pt x="18" y="1"/>
                      <a:pt x="18" y="0"/>
                      <a:pt x="17" y="0"/>
                    </a:cubicBezTo>
                    <a:cubicBezTo>
                      <a:pt x="15" y="1"/>
                      <a:pt x="13" y="1"/>
                      <a:pt x="11" y="1"/>
                    </a:cubicBezTo>
                    <a:cubicBezTo>
                      <a:pt x="11" y="1"/>
                      <a:pt x="10" y="2"/>
                      <a:pt x="10" y="2"/>
                    </a:cubicBezTo>
                    <a:cubicBezTo>
                      <a:pt x="10" y="4"/>
                      <a:pt x="10" y="5"/>
                      <a:pt x="10" y="5"/>
                    </a:cubicBezTo>
                    <a:cubicBezTo>
                      <a:pt x="10" y="6"/>
                      <a:pt x="10" y="6"/>
                      <a:pt x="9" y="6"/>
                    </a:cubicBezTo>
                    <a:cubicBezTo>
                      <a:pt x="9" y="6"/>
                      <a:pt x="9" y="6"/>
                      <a:pt x="9" y="6"/>
                    </a:cubicBezTo>
                    <a:cubicBezTo>
                      <a:pt x="9" y="6"/>
                      <a:pt x="8" y="7"/>
                      <a:pt x="8" y="7"/>
                    </a:cubicBezTo>
                    <a:cubicBezTo>
                      <a:pt x="8" y="7"/>
                      <a:pt x="8" y="7"/>
                      <a:pt x="8" y="7"/>
                    </a:cubicBezTo>
                    <a:cubicBezTo>
                      <a:pt x="8" y="8"/>
                      <a:pt x="7" y="8"/>
                      <a:pt x="7" y="8"/>
                    </a:cubicBezTo>
                    <a:cubicBezTo>
                      <a:pt x="6" y="8"/>
                      <a:pt x="5" y="8"/>
                      <a:pt x="4" y="7"/>
                    </a:cubicBezTo>
                    <a:cubicBezTo>
                      <a:pt x="4" y="7"/>
                      <a:pt x="3" y="7"/>
                      <a:pt x="3" y="8"/>
                    </a:cubicBezTo>
                    <a:cubicBezTo>
                      <a:pt x="2" y="10"/>
                      <a:pt x="1" y="12"/>
                      <a:pt x="0" y="14"/>
                    </a:cubicBezTo>
                    <a:cubicBezTo>
                      <a:pt x="0" y="14"/>
                      <a:pt x="1" y="15"/>
                      <a:pt x="1" y="15"/>
                    </a:cubicBezTo>
                    <a:cubicBezTo>
                      <a:pt x="2" y="16"/>
                      <a:pt x="3" y="16"/>
                      <a:pt x="3" y="17"/>
                    </a:cubicBezTo>
                    <a:cubicBezTo>
                      <a:pt x="4" y="17"/>
                      <a:pt x="4" y="17"/>
                      <a:pt x="4" y="18"/>
                    </a:cubicBezTo>
                    <a:cubicBezTo>
                      <a:pt x="4" y="18"/>
                      <a:pt x="4" y="19"/>
                      <a:pt x="4" y="20"/>
                    </a:cubicBezTo>
                    <a:cubicBezTo>
                      <a:pt x="4" y="20"/>
                      <a:pt x="4" y="21"/>
                      <a:pt x="4" y="21"/>
                    </a:cubicBezTo>
                    <a:cubicBezTo>
                      <a:pt x="4" y="21"/>
                      <a:pt x="3" y="22"/>
                      <a:pt x="2" y="23"/>
                    </a:cubicBezTo>
                    <a:cubicBezTo>
                      <a:pt x="2" y="23"/>
                      <a:pt x="2" y="24"/>
                      <a:pt x="2" y="24"/>
                    </a:cubicBezTo>
                    <a:cubicBezTo>
                      <a:pt x="6" y="29"/>
                      <a:pt x="6" y="29"/>
                      <a:pt x="6" y="29"/>
                    </a:cubicBezTo>
                    <a:cubicBezTo>
                      <a:pt x="6" y="30"/>
                      <a:pt x="7" y="30"/>
                      <a:pt x="8" y="30"/>
                    </a:cubicBezTo>
                    <a:cubicBezTo>
                      <a:pt x="9" y="29"/>
                      <a:pt x="10" y="28"/>
                      <a:pt x="10" y="28"/>
                    </a:cubicBezTo>
                    <a:cubicBezTo>
                      <a:pt x="10" y="28"/>
                      <a:pt x="11" y="28"/>
                      <a:pt x="11" y="28"/>
                    </a:cubicBezTo>
                    <a:cubicBezTo>
                      <a:pt x="12" y="29"/>
                      <a:pt x="12" y="29"/>
                      <a:pt x="13" y="29"/>
                    </a:cubicBezTo>
                    <a:cubicBezTo>
                      <a:pt x="13" y="29"/>
                      <a:pt x="14" y="29"/>
                      <a:pt x="14" y="30"/>
                    </a:cubicBezTo>
                    <a:cubicBezTo>
                      <a:pt x="14" y="30"/>
                      <a:pt x="14" y="31"/>
                      <a:pt x="15" y="32"/>
                    </a:cubicBezTo>
                    <a:cubicBezTo>
                      <a:pt x="15" y="33"/>
                      <a:pt x="15" y="33"/>
                      <a:pt x="16" y="33"/>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96">
                <a:extLst>
                  <a:ext uri="{FF2B5EF4-FFF2-40B4-BE49-F238E27FC236}">
                    <a16:creationId xmlns:a16="http://schemas.microsoft.com/office/drawing/2014/main" id="{D90F64EA-E7F9-4B9B-BD65-1F4A003AB482}"/>
                  </a:ext>
                </a:extLst>
              </p:cNvPr>
              <p:cNvSpPr>
                <a:spLocks/>
              </p:cNvSpPr>
              <p:nvPr/>
            </p:nvSpPr>
            <p:spPr bwMode="auto">
              <a:xfrm>
                <a:off x="5392738" y="835026"/>
                <a:ext cx="74613" cy="71438"/>
              </a:xfrm>
              <a:custGeom>
                <a:avLst/>
                <a:gdLst>
                  <a:gd name="T0" fmla="*/ 16 w 22"/>
                  <a:gd name="T1" fmla="*/ 20 h 21"/>
                  <a:gd name="T2" fmla="*/ 21 w 22"/>
                  <a:gd name="T3" fmla="*/ 13 h 21"/>
                  <a:gd name="T4" fmla="*/ 18 w 22"/>
                  <a:gd name="T5" fmla="*/ 4 h 21"/>
                  <a:gd name="T6" fmla="*/ 18 w 22"/>
                  <a:gd name="T7" fmla="*/ 3 h 21"/>
                  <a:gd name="T8" fmla="*/ 18 w 22"/>
                  <a:gd name="T9" fmla="*/ 3 h 21"/>
                  <a:gd name="T10" fmla="*/ 12 w 22"/>
                  <a:gd name="T11" fmla="*/ 1 h 21"/>
                  <a:gd name="T12" fmla="*/ 1 w 22"/>
                  <a:gd name="T13" fmla="*/ 10 h 21"/>
                  <a:gd name="T14" fmla="*/ 10 w 22"/>
                  <a:gd name="T15" fmla="*/ 21 h 21"/>
                  <a:gd name="T16" fmla="*/ 16 w 22"/>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1">
                    <a:moveTo>
                      <a:pt x="16" y="20"/>
                    </a:moveTo>
                    <a:cubicBezTo>
                      <a:pt x="19" y="18"/>
                      <a:pt x="19" y="13"/>
                      <a:pt x="21" y="13"/>
                    </a:cubicBezTo>
                    <a:cubicBezTo>
                      <a:pt x="21" y="13"/>
                      <a:pt x="22" y="8"/>
                      <a:pt x="18" y="4"/>
                    </a:cubicBezTo>
                    <a:cubicBezTo>
                      <a:pt x="18" y="4"/>
                      <a:pt x="18" y="3"/>
                      <a:pt x="18" y="3"/>
                    </a:cubicBezTo>
                    <a:cubicBezTo>
                      <a:pt x="18" y="3"/>
                      <a:pt x="18" y="3"/>
                      <a:pt x="18" y="3"/>
                    </a:cubicBezTo>
                    <a:cubicBezTo>
                      <a:pt x="16" y="1"/>
                      <a:pt x="14" y="1"/>
                      <a:pt x="12" y="1"/>
                    </a:cubicBezTo>
                    <a:cubicBezTo>
                      <a:pt x="6" y="0"/>
                      <a:pt x="1" y="4"/>
                      <a:pt x="1" y="10"/>
                    </a:cubicBezTo>
                    <a:cubicBezTo>
                      <a:pt x="0" y="15"/>
                      <a:pt x="4" y="20"/>
                      <a:pt x="10" y="21"/>
                    </a:cubicBezTo>
                    <a:cubicBezTo>
                      <a:pt x="12" y="21"/>
                      <a:pt x="14" y="21"/>
                      <a:pt x="16" y="2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9" name="Groupe 48">
            <a:extLst>
              <a:ext uri="{FF2B5EF4-FFF2-40B4-BE49-F238E27FC236}">
                <a16:creationId xmlns:a16="http://schemas.microsoft.com/office/drawing/2014/main" id="{D97D38B3-F847-43DA-BB8A-058F09BA6E6D}"/>
              </a:ext>
            </a:extLst>
          </p:cNvPr>
          <p:cNvGrpSpPr>
            <a:grpSpLocks noChangeAspect="1"/>
          </p:cNvGrpSpPr>
          <p:nvPr/>
        </p:nvGrpSpPr>
        <p:grpSpPr>
          <a:xfrm>
            <a:off x="-41737" y="1533936"/>
            <a:ext cx="716061" cy="670723"/>
            <a:chOff x="6423025" y="2703513"/>
            <a:chExt cx="852488" cy="798512"/>
          </a:xfrm>
        </p:grpSpPr>
        <p:sp>
          <p:nvSpPr>
            <p:cNvPr id="50" name="Freeform 185">
              <a:extLst>
                <a:ext uri="{FF2B5EF4-FFF2-40B4-BE49-F238E27FC236}">
                  <a16:creationId xmlns:a16="http://schemas.microsoft.com/office/drawing/2014/main" id="{02B68668-A818-48B5-9DA8-65D78C3FCA3E}"/>
                </a:ext>
              </a:extLst>
            </p:cNvPr>
            <p:cNvSpPr>
              <a:spLocks/>
            </p:cNvSpPr>
            <p:nvPr/>
          </p:nvSpPr>
          <p:spPr bwMode="auto">
            <a:xfrm>
              <a:off x="6423025" y="2703513"/>
              <a:ext cx="852488" cy="798512"/>
            </a:xfrm>
            <a:custGeom>
              <a:avLst/>
              <a:gdLst>
                <a:gd name="T0" fmla="*/ 36 w 252"/>
                <a:gd name="T1" fmla="*/ 184 h 235"/>
                <a:gd name="T2" fmla="*/ 60 w 252"/>
                <a:gd name="T3" fmla="*/ 35 h 235"/>
                <a:gd name="T4" fmla="*/ 216 w 252"/>
                <a:gd name="T5" fmla="*/ 57 h 235"/>
                <a:gd name="T6" fmla="*/ 187 w 252"/>
                <a:gd name="T7" fmla="*/ 200 h 235"/>
                <a:gd name="T8" fmla="*/ 36 w 252"/>
                <a:gd name="T9" fmla="*/ 184 h 235"/>
              </a:gdLst>
              <a:ahLst/>
              <a:cxnLst>
                <a:cxn ang="0">
                  <a:pos x="T0" y="T1"/>
                </a:cxn>
                <a:cxn ang="0">
                  <a:pos x="T2" y="T3"/>
                </a:cxn>
                <a:cxn ang="0">
                  <a:pos x="T4" y="T5"/>
                </a:cxn>
                <a:cxn ang="0">
                  <a:pos x="T6" y="T7"/>
                </a:cxn>
                <a:cxn ang="0">
                  <a:pos x="T8" y="T9"/>
                </a:cxn>
              </a:cxnLst>
              <a:rect l="0" t="0" r="r" b="b"/>
              <a:pathLst>
                <a:path w="252" h="235">
                  <a:moveTo>
                    <a:pt x="36" y="184"/>
                  </a:moveTo>
                  <a:cubicBezTo>
                    <a:pt x="0" y="137"/>
                    <a:pt x="11" y="70"/>
                    <a:pt x="60" y="35"/>
                  </a:cubicBezTo>
                  <a:cubicBezTo>
                    <a:pt x="110" y="0"/>
                    <a:pt x="179" y="10"/>
                    <a:pt x="216" y="57"/>
                  </a:cubicBezTo>
                  <a:cubicBezTo>
                    <a:pt x="252" y="104"/>
                    <a:pt x="237" y="165"/>
                    <a:pt x="187" y="200"/>
                  </a:cubicBezTo>
                  <a:cubicBezTo>
                    <a:pt x="138" y="235"/>
                    <a:pt x="72" y="231"/>
                    <a:pt x="36" y="18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e 50">
              <a:extLst>
                <a:ext uri="{FF2B5EF4-FFF2-40B4-BE49-F238E27FC236}">
                  <a16:creationId xmlns:a16="http://schemas.microsoft.com/office/drawing/2014/main" id="{2DC2998E-CA91-4329-8B37-208762D4B85A}"/>
                </a:ext>
              </a:extLst>
            </p:cNvPr>
            <p:cNvGrpSpPr/>
            <p:nvPr/>
          </p:nvGrpSpPr>
          <p:grpSpPr>
            <a:xfrm>
              <a:off x="6605588" y="2852738"/>
              <a:ext cx="501650" cy="493712"/>
              <a:chOff x="6605588" y="2852738"/>
              <a:chExt cx="501650" cy="493712"/>
            </a:xfrm>
          </p:grpSpPr>
          <p:sp>
            <p:nvSpPr>
              <p:cNvPr id="52" name="Freeform 186">
                <a:extLst>
                  <a:ext uri="{FF2B5EF4-FFF2-40B4-BE49-F238E27FC236}">
                    <a16:creationId xmlns:a16="http://schemas.microsoft.com/office/drawing/2014/main" id="{BD4427CA-A0AE-4F47-9575-833EC9C06FCD}"/>
                  </a:ext>
                </a:extLst>
              </p:cNvPr>
              <p:cNvSpPr>
                <a:spLocks/>
              </p:cNvSpPr>
              <p:nvPr/>
            </p:nvSpPr>
            <p:spPr bwMode="auto">
              <a:xfrm>
                <a:off x="6734175" y="2852738"/>
                <a:ext cx="373063" cy="371475"/>
              </a:xfrm>
              <a:custGeom>
                <a:avLst/>
                <a:gdLst>
                  <a:gd name="T0" fmla="*/ 90 w 110"/>
                  <a:gd name="T1" fmla="*/ 90 h 109"/>
                  <a:gd name="T2" fmla="*/ 90 w 110"/>
                  <a:gd name="T3" fmla="*/ 19 h 109"/>
                  <a:gd name="T4" fmla="*/ 20 w 110"/>
                  <a:gd name="T5" fmla="*/ 19 h 109"/>
                  <a:gd name="T6" fmla="*/ 20 w 110"/>
                  <a:gd name="T7" fmla="*/ 90 h 109"/>
                  <a:gd name="T8" fmla="*/ 90 w 110"/>
                  <a:gd name="T9" fmla="*/ 90 h 109"/>
                </a:gdLst>
                <a:ahLst/>
                <a:cxnLst>
                  <a:cxn ang="0">
                    <a:pos x="T0" y="T1"/>
                  </a:cxn>
                  <a:cxn ang="0">
                    <a:pos x="T2" y="T3"/>
                  </a:cxn>
                  <a:cxn ang="0">
                    <a:pos x="T4" y="T5"/>
                  </a:cxn>
                  <a:cxn ang="0">
                    <a:pos x="T6" y="T7"/>
                  </a:cxn>
                  <a:cxn ang="0">
                    <a:pos x="T8" y="T9"/>
                  </a:cxn>
                </a:cxnLst>
                <a:rect l="0" t="0" r="r" b="b"/>
                <a:pathLst>
                  <a:path w="110" h="109">
                    <a:moveTo>
                      <a:pt x="90" y="90"/>
                    </a:moveTo>
                    <a:cubicBezTo>
                      <a:pt x="110" y="70"/>
                      <a:pt x="110" y="39"/>
                      <a:pt x="90" y="19"/>
                    </a:cubicBezTo>
                    <a:cubicBezTo>
                      <a:pt x="70" y="0"/>
                      <a:pt x="39" y="0"/>
                      <a:pt x="20" y="19"/>
                    </a:cubicBezTo>
                    <a:cubicBezTo>
                      <a:pt x="0" y="39"/>
                      <a:pt x="0" y="70"/>
                      <a:pt x="20" y="90"/>
                    </a:cubicBezTo>
                    <a:cubicBezTo>
                      <a:pt x="39" y="109"/>
                      <a:pt x="70" y="109"/>
                      <a:pt x="90" y="9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87">
                <a:extLst>
                  <a:ext uri="{FF2B5EF4-FFF2-40B4-BE49-F238E27FC236}">
                    <a16:creationId xmlns:a16="http://schemas.microsoft.com/office/drawing/2014/main" id="{7242C0C4-D85F-4531-8F88-CB0DBEB4CA41}"/>
                  </a:ext>
                </a:extLst>
              </p:cNvPr>
              <p:cNvSpPr>
                <a:spLocks/>
              </p:cNvSpPr>
              <p:nvPr/>
            </p:nvSpPr>
            <p:spPr bwMode="auto">
              <a:xfrm>
                <a:off x="6772275" y="2890838"/>
                <a:ext cx="293688" cy="295275"/>
              </a:xfrm>
              <a:custGeom>
                <a:avLst/>
                <a:gdLst>
                  <a:gd name="T0" fmla="*/ 71 w 87"/>
                  <a:gd name="T1" fmla="*/ 71 h 87"/>
                  <a:gd name="T2" fmla="*/ 71 w 87"/>
                  <a:gd name="T3" fmla="*/ 16 h 87"/>
                  <a:gd name="T4" fmla="*/ 16 w 87"/>
                  <a:gd name="T5" fmla="*/ 16 h 87"/>
                  <a:gd name="T6" fmla="*/ 16 w 87"/>
                  <a:gd name="T7" fmla="*/ 71 h 87"/>
                  <a:gd name="T8" fmla="*/ 71 w 87"/>
                  <a:gd name="T9" fmla="*/ 71 h 87"/>
                </a:gdLst>
                <a:ahLst/>
                <a:cxnLst>
                  <a:cxn ang="0">
                    <a:pos x="T0" y="T1"/>
                  </a:cxn>
                  <a:cxn ang="0">
                    <a:pos x="T2" y="T3"/>
                  </a:cxn>
                  <a:cxn ang="0">
                    <a:pos x="T4" y="T5"/>
                  </a:cxn>
                  <a:cxn ang="0">
                    <a:pos x="T6" y="T7"/>
                  </a:cxn>
                  <a:cxn ang="0">
                    <a:pos x="T8" y="T9"/>
                  </a:cxn>
                </a:cxnLst>
                <a:rect l="0" t="0" r="r" b="b"/>
                <a:pathLst>
                  <a:path w="87" h="87">
                    <a:moveTo>
                      <a:pt x="71" y="71"/>
                    </a:moveTo>
                    <a:cubicBezTo>
                      <a:pt x="87" y="56"/>
                      <a:pt x="87" y="31"/>
                      <a:pt x="71" y="16"/>
                    </a:cubicBezTo>
                    <a:cubicBezTo>
                      <a:pt x="56" y="0"/>
                      <a:pt x="31" y="0"/>
                      <a:pt x="16" y="16"/>
                    </a:cubicBezTo>
                    <a:cubicBezTo>
                      <a:pt x="0" y="31"/>
                      <a:pt x="0" y="56"/>
                      <a:pt x="16" y="71"/>
                    </a:cubicBezTo>
                    <a:cubicBezTo>
                      <a:pt x="31" y="87"/>
                      <a:pt x="56" y="87"/>
                      <a:pt x="71" y="71"/>
                    </a:cubicBezTo>
                    <a:close/>
                  </a:path>
                </a:pathLst>
              </a:custGeom>
              <a:solidFill>
                <a:srgbClr val="27A8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88">
                <a:extLst>
                  <a:ext uri="{FF2B5EF4-FFF2-40B4-BE49-F238E27FC236}">
                    <a16:creationId xmlns:a16="http://schemas.microsoft.com/office/drawing/2014/main" id="{22256283-6F98-4072-B721-4AB4F5B8E7C2}"/>
                  </a:ext>
                </a:extLst>
              </p:cNvPr>
              <p:cNvSpPr>
                <a:spLocks/>
              </p:cNvSpPr>
              <p:nvPr/>
            </p:nvSpPr>
            <p:spPr bwMode="auto">
              <a:xfrm>
                <a:off x="6764338" y="3128963"/>
                <a:ext cx="65088" cy="63500"/>
              </a:xfrm>
              <a:custGeom>
                <a:avLst/>
                <a:gdLst>
                  <a:gd name="T0" fmla="*/ 0 w 41"/>
                  <a:gd name="T1" fmla="*/ 17 h 40"/>
                  <a:gd name="T2" fmla="*/ 17 w 41"/>
                  <a:gd name="T3" fmla="*/ 0 h 40"/>
                  <a:gd name="T4" fmla="*/ 41 w 41"/>
                  <a:gd name="T5" fmla="*/ 23 h 40"/>
                  <a:gd name="T6" fmla="*/ 24 w 41"/>
                  <a:gd name="T7" fmla="*/ 40 h 40"/>
                  <a:gd name="T8" fmla="*/ 0 w 41"/>
                  <a:gd name="T9" fmla="*/ 17 h 40"/>
                </a:gdLst>
                <a:ahLst/>
                <a:cxnLst>
                  <a:cxn ang="0">
                    <a:pos x="T0" y="T1"/>
                  </a:cxn>
                  <a:cxn ang="0">
                    <a:pos x="T2" y="T3"/>
                  </a:cxn>
                  <a:cxn ang="0">
                    <a:pos x="T4" y="T5"/>
                  </a:cxn>
                  <a:cxn ang="0">
                    <a:pos x="T6" y="T7"/>
                  </a:cxn>
                  <a:cxn ang="0">
                    <a:pos x="T8" y="T9"/>
                  </a:cxn>
                </a:cxnLst>
                <a:rect l="0" t="0" r="r" b="b"/>
                <a:pathLst>
                  <a:path w="41" h="40">
                    <a:moveTo>
                      <a:pt x="0" y="17"/>
                    </a:moveTo>
                    <a:lnTo>
                      <a:pt x="17" y="0"/>
                    </a:lnTo>
                    <a:lnTo>
                      <a:pt x="41" y="23"/>
                    </a:lnTo>
                    <a:lnTo>
                      <a:pt x="24" y="40"/>
                    </a:lnTo>
                    <a:lnTo>
                      <a:pt x="0"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89">
                <a:extLst>
                  <a:ext uri="{FF2B5EF4-FFF2-40B4-BE49-F238E27FC236}">
                    <a16:creationId xmlns:a16="http://schemas.microsoft.com/office/drawing/2014/main" id="{A86F21DD-24E3-4044-893B-29125DF9AF31}"/>
                  </a:ext>
                </a:extLst>
              </p:cNvPr>
              <p:cNvSpPr>
                <a:spLocks/>
              </p:cNvSpPr>
              <p:nvPr/>
            </p:nvSpPr>
            <p:spPr bwMode="auto">
              <a:xfrm>
                <a:off x="6724650" y="3148013"/>
                <a:ext cx="84138" cy="82550"/>
              </a:xfrm>
              <a:custGeom>
                <a:avLst/>
                <a:gdLst>
                  <a:gd name="T0" fmla="*/ 0 w 53"/>
                  <a:gd name="T1" fmla="*/ 22 h 52"/>
                  <a:gd name="T2" fmla="*/ 23 w 53"/>
                  <a:gd name="T3" fmla="*/ 0 h 52"/>
                  <a:gd name="T4" fmla="*/ 53 w 53"/>
                  <a:gd name="T5" fmla="*/ 30 h 52"/>
                  <a:gd name="T6" fmla="*/ 32 w 53"/>
                  <a:gd name="T7" fmla="*/ 52 h 52"/>
                  <a:gd name="T8" fmla="*/ 0 w 53"/>
                  <a:gd name="T9" fmla="*/ 22 h 52"/>
                </a:gdLst>
                <a:ahLst/>
                <a:cxnLst>
                  <a:cxn ang="0">
                    <a:pos x="T0" y="T1"/>
                  </a:cxn>
                  <a:cxn ang="0">
                    <a:pos x="T2" y="T3"/>
                  </a:cxn>
                  <a:cxn ang="0">
                    <a:pos x="T4" y="T5"/>
                  </a:cxn>
                  <a:cxn ang="0">
                    <a:pos x="T6" y="T7"/>
                  </a:cxn>
                  <a:cxn ang="0">
                    <a:pos x="T8" y="T9"/>
                  </a:cxn>
                </a:cxnLst>
                <a:rect l="0" t="0" r="r" b="b"/>
                <a:pathLst>
                  <a:path w="53" h="52">
                    <a:moveTo>
                      <a:pt x="0" y="22"/>
                    </a:moveTo>
                    <a:lnTo>
                      <a:pt x="23" y="0"/>
                    </a:lnTo>
                    <a:lnTo>
                      <a:pt x="53" y="30"/>
                    </a:lnTo>
                    <a:lnTo>
                      <a:pt x="32" y="52"/>
                    </a:lnTo>
                    <a:lnTo>
                      <a:pt x="0" y="22"/>
                    </a:lnTo>
                    <a:close/>
                  </a:path>
                </a:pathLst>
              </a:custGeom>
              <a:solidFill>
                <a:srgbClr val="CF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90">
                <a:extLst>
                  <a:ext uri="{FF2B5EF4-FFF2-40B4-BE49-F238E27FC236}">
                    <a16:creationId xmlns:a16="http://schemas.microsoft.com/office/drawing/2014/main" id="{B069083B-7702-4792-8F31-5D4FE28852CA}"/>
                  </a:ext>
                </a:extLst>
              </p:cNvPr>
              <p:cNvSpPr>
                <a:spLocks/>
              </p:cNvSpPr>
              <p:nvPr/>
            </p:nvSpPr>
            <p:spPr bwMode="auto">
              <a:xfrm>
                <a:off x="6946900" y="2930525"/>
                <a:ext cx="77788" cy="82550"/>
              </a:xfrm>
              <a:custGeom>
                <a:avLst/>
                <a:gdLst>
                  <a:gd name="T0" fmla="*/ 18 w 23"/>
                  <a:gd name="T1" fmla="*/ 22 h 24"/>
                  <a:gd name="T2" fmla="*/ 17 w 23"/>
                  <a:gd name="T3" fmla="*/ 21 h 24"/>
                  <a:gd name="T4" fmla="*/ 12 w 23"/>
                  <a:gd name="T5" fmla="*/ 12 h 24"/>
                  <a:gd name="T6" fmla="*/ 2 w 23"/>
                  <a:gd name="T7" fmla="*/ 6 h 24"/>
                  <a:gd name="T8" fmla="*/ 0 w 23"/>
                  <a:gd name="T9" fmla="*/ 2 h 24"/>
                  <a:gd name="T10" fmla="*/ 4 w 23"/>
                  <a:gd name="T11" fmla="*/ 0 h 24"/>
                  <a:gd name="T12" fmla="*/ 16 w 23"/>
                  <a:gd name="T13" fmla="*/ 7 h 24"/>
                  <a:gd name="T14" fmla="*/ 23 w 23"/>
                  <a:gd name="T15" fmla="*/ 19 h 24"/>
                  <a:gd name="T16" fmla="*/ 21 w 23"/>
                  <a:gd name="T17" fmla="*/ 23 h 24"/>
                  <a:gd name="T18" fmla="*/ 18 w 23"/>
                  <a:gd name="T1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8" y="22"/>
                    </a:moveTo>
                    <a:cubicBezTo>
                      <a:pt x="17" y="22"/>
                      <a:pt x="17" y="22"/>
                      <a:pt x="17" y="21"/>
                    </a:cubicBezTo>
                    <a:cubicBezTo>
                      <a:pt x="16" y="18"/>
                      <a:pt x="14" y="14"/>
                      <a:pt x="12" y="12"/>
                    </a:cubicBezTo>
                    <a:cubicBezTo>
                      <a:pt x="9" y="9"/>
                      <a:pt x="6" y="7"/>
                      <a:pt x="2" y="6"/>
                    </a:cubicBezTo>
                    <a:cubicBezTo>
                      <a:pt x="1" y="6"/>
                      <a:pt x="0" y="4"/>
                      <a:pt x="0" y="2"/>
                    </a:cubicBezTo>
                    <a:cubicBezTo>
                      <a:pt x="1" y="1"/>
                      <a:pt x="2" y="0"/>
                      <a:pt x="4" y="0"/>
                    </a:cubicBezTo>
                    <a:cubicBezTo>
                      <a:pt x="8" y="2"/>
                      <a:pt x="13" y="4"/>
                      <a:pt x="16" y="7"/>
                    </a:cubicBezTo>
                    <a:cubicBezTo>
                      <a:pt x="19" y="11"/>
                      <a:pt x="22" y="15"/>
                      <a:pt x="23" y="19"/>
                    </a:cubicBezTo>
                    <a:cubicBezTo>
                      <a:pt x="23" y="21"/>
                      <a:pt x="22" y="22"/>
                      <a:pt x="21" y="23"/>
                    </a:cubicBezTo>
                    <a:cubicBezTo>
                      <a:pt x="20" y="24"/>
                      <a:pt x="19" y="23"/>
                      <a:pt x="18"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91">
                <a:extLst>
                  <a:ext uri="{FF2B5EF4-FFF2-40B4-BE49-F238E27FC236}">
                    <a16:creationId xmlns:a16="http://schemas.microsoft.com/office/drawing/2014/main" id="{BED454A0-0212-4646-B940-7B33BEEE4760}"/>
                  </a:ext>
                </a:extLst>
              </p:cNvPr>
              <p:cNvSpPr>
                <a:spLocks/>
              </p:cNvSpPr>
              <p:nvPr/>
            </p:nvSpPr>
            <p:spPr bwMode="auto">
              <a:xfrm>
                <a:off x="6605588" y="3182938"/>
                <a:ext cx="169863" cy="163512"/>
              </a:xfrm>
              <a:custGeom>
                <a:avLst/>
                <a:gdLst>
                  <a:gd name="T0" fmla="*/ 46 w 50"/>
                  <a:gd name="T1" fmla="*/ 10 h 48"/>
                  <a:gd name="T2" fmla="*/ 40 w 50"/>
                  <a:gd name="T3" fmla="*/ 4 h 48"/>
                  <a:gd name="T4" fmla="*/ 35 w 50"/>
                  <a:gd name="T5" fmla="*/ 0 h 48"/>
                  <a:gd name="T6" fmla="*/ 31 w 50"/>
                  <a:gd name="T7" fmla="*/ 4 h 48"/>
                  <a:gd name="T8" fmla="*/ 4 w 50"/>
                  <a:gd name="T9" fmla="*/ 31 h 48"/>
                  <a:gd name="T10" fmla="*/ 0 w 50"/>
                  <a:gd name="T11" fmla="*/ 35 h 48"/>
                  <a:gd name="T12" fmla="*/ 4 w 50"/>
                  <a:gd name="T13" fmla="*/ 40 h 48"/>
                  <a:gd name="T14" fmla="*/ 7 w 50"/>
                  <a:gd name="T15" fmla="*/ 43 h 48"/>
                  <a:gd name="T16" fmla="*/ 10 w 50"/>
                  <a:gd name="T17" fmla="*/ 46 h 48"/>
                  <a:gd name="T18" fmla="*/ 19 w 50"/>
                  <a:gd name="T19" fmla="*/ 46 h 48"/>
                  <a:gd name="T20" fmla="*/ 44 w 50"/>
                  <a:gd name="T21" fmla="*/ 21 h 48"/>
                  <a:gd name="T22" fmla="*/ 46 w 50"/>
                  <a:gd name="T23" fmla="*/ 19 h 48"/>
                  <a:gd name="T24" fmla="*/ 50 w 50"/>
                  <a:gd name="T25" fmla="*/ 15 h 48"/>
                  <a:gd name="T26" fmla="*/ 46 w 50"/>
                  <a:gd name="T27"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8">
                    <a:moveTo>
                      <a:pt x="46" y="10"/>
                    </a:moveTo>
                    <a:cubicBezTo>
                      <a:pt x="40" y="4"/>
                      <a:pt x="40" y="4"/>
                      <a:pt x="40" y="4"/>
                    </a:cubicBezTo>
                    <a:cubicBezTo>
                      <a:pt x="35" y="0"/>
                      <a:pt x="35" y="0"/>
                      <a:pt x="35" y="0"/>
                    </a:cubicBezTo>
                    <a:cubicBezTo>
                      <a:pt x="31" y="4"/>
                      <a:pt x="31" y="4"/>
                      <a:pt x="31" y="4"/>
                    </a:cubicBezTo>
                    <a:cubicBezTo>
                      <a:pt x="4" y="31"/>
                      <a:pt x="4" y="31"/>
                      <a:pt x="4" y="31"/>
                    </a:cubicBezTo>
                    <a:cubicBezTo>
                      <a:pt x="0" y="35"/>
                      <a:pt x="0" y="35"/>
                      <a:pt x="0" y="35"/>
                    </a:cubicBezTo>
                    <a:cubicBezTo>
                      <a:pt x="4" y="40"/>
                      <a:pt x="4" y="40"/>
                      <a:pt x="4" y="40"/>
                    </a:cubicBezTo>
                    <a:cubicBezTo>
                      <a:pt x="7" y="43"/>
                      <a:pt x="7" y="43"/>
                      <a:pt x="7" y="43"/>
                    </a:cubicBezTo>
                    <a:cubicBezTo>
                      <a:pt x="10" y="46"/>
                      <a:pt x="10" y="46"/>
                      <a:pt x="10" y="46"/>
                    </a:cubicBezTo>
                    <a:cubicBezTo>
                      <a:pt x="13" y="48"/>
                      <a:pt x="16" y="48"/>
                      <a:pt x="19" y="46"/>
                    </a:cubicBezTo>
                    <a:cubicBezTo>
                      <a:pt x="44" y="21"/>
                      <a:pt x="44" y="21"/>
                      <a:pt x="44" y="21"/>
                    </a:cubicBezTo>
                    <a:cubicBezTo>
                      <a:pt x="46" y="19"/>
                      <a:pt x="46" y="19"/>
                      <a:pt x="46" y="19"/>
                    </a:cubicBezTo>
                    <a:cubicBezTo>
                      <a:pt x="50" y="15"/>
                      <a:pt x="50" y="15"/>
                      <a:pt x="50" y="15"/>
                    </a:cubicBezTo>
                    <a:lnTo>
                      <a:pt x="46" y="10"/>
                    </a:lnTo>
                    <a:close/>
                  </a:path>
                </a:pathLst>
              </a:custGeom>
              <a:solidFill>
                <a:srgbClr val="2B1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8" name="Flèche : droite rayée 57">
            <a:extLst>
              <a:ext uri="{FF2B5EF4-FFF2-40B4-BE49-F238E27FC236}">
                <a16:creationId xmlns:a16="http://schemas.microsoft.com/office/drawing/2014/main" id="{C4D32C2C-F74D-4B14-B976-932F90F4757C}"/>
              </a:ext>
            </a:extLst>
          </p:cNvPr>
          <p:cNvSpPr/>
          <p:nvPr/>
        </p:nvSpPr>
        <p:spPr>
          <a:xfrm>
            <a:off x="9354918" y="6120309"/>
            <a:ext cx="2020678" cy="322886"/>
          </a:xfrm>
          <a:prstGeom prst="stripedRightArrow">
            <a:avLst/>
          </a:prstGeom>
          <a:solidFill>
            <a:schemeClr val="accent1">
              <a:lumMod val="40000"/>
              <a:lumOff val="60000"/>
            </a:schemeClr>
          </a:solidFill>
          <a:ln>
            <a:solidFill>
              <a:schemeClr val="accent1">
                <a:lumMod val="40000"/>
                <a:lumOff val="60000"/>
              </a:schemeClr>
            </a:solidFill>
          </a:ln>
          <a:effectLst>
            <a:outerShdw blurRad="50800" dist="38100" algn="l" rotWithShape="0">
              <a:prstClr val="black">
                <a:alpha val="40000"/>
              </a:prstClr>
            </a:outerShdw>
            <a:reflection blurRad="6350" stA="50000" endA="300" endPos="38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57973948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49"/>
                                        </p:tgtEl>
                                        <p:attrNameLst>
                                          <p:attrName>style.visibility</p:attrName>
                                        </p:attrNameLst>
                                      </p:cBhvr>
                                      <p:to>
                                        <p:strVal val="visible"/>
                                      </p:to>
                                    </p:set>
                                    <p:anim calcmode="lin" valueType="num">
                                      <p:cBhvr>
                                        <p:cTn id="12" dur="500" fill="hold"/>
                                        <p:tgtEl>
                                          <p:spTgt spid="49"/>
                                        </p:tgtEl>
                                        <p:attrNameLst>
                                          <p:attrName>ppt_w</p:attrName>
                                        </p:attrNameLst>
                                      </p:cBhvr>
                                      <p:tavLst>
                                        <p:tav tm="0">
                                          <p:val>
                                            <p:fltVal val="0"/>
                                          </p:val>
                                        </p:tav>
                                        <p:tav tm="100000">
                                          <p:val>
                                            <p:strVal val="#ppt_w"/>
                                          </p:val>
                                        </p:tav>
                                      </p:tavLst>
                                    </p:anim>
                                    <p:anim calcmode="lin" valueType="num">
                                      <p:cBhvr>
                                        <p:cTn id="13" dur="500" fill="hold"/>
                                        <p:tgtEl>
                                          <p:spTgt spid="49"/>
                                        </p:tgtEl>
                                        <p:attrNameLst>
                                          <p:attrName>ppt_h</p:attrName>
                                        </p:attrNameLst>
                                      </p:cBhvr>
                                      <p:tavLst>
                                        <p:tav tm="0">
                                          <p:val>
                                            <p:fltVal val="0"/>
                                          </p:val>
                                        </p:tav>
                                        <p:tav tm="100000">
                                          <p:val>
                                            <p:strVal val="#ppt_h"/>
                                          </p:val>
                                        </p:tav>
                                      </p:tavLst>
                                    </p:anim>
                                    <p:animEffect transition="in" filter="fade">
                                      <p:cBhvr>
                                        <p:cTn id="14" dur="500"/>
                                        <p:tgtEl>
                                          <p:spTgt spid="49"/>
                                        </p:tgtEl>
                                      </p:cBhvr>
                                    </p:animEffect>
                                  </p:childTnLst>
                                </p:cTn>
                              </p:par>
                              <p:par>
                                <p:cTn id="15" presetID="53" presetClass="entr" presetSubtype="16"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p:cTn id="17" dur="500" fill="hold"/>
                                        <p:tgtEl>
                                          <p:spTgt spid="2"/>
                                        </p:tgtEl>
                                        <p:attrNameLst>
                                          <p:attrName>ppt_w</p:attrName>
                                        </p:attrNameLst>
                                      </p:cBhvr>
                                      <p:tavLst>
                                        <p:tav tm="0">
                                          <p:val>
                                            <p:fltVal val="0"/>
                                          </p:val>
                                        </p:tav>
                                        <p:tav tm="100000">
                                          <p:val>
                                            <p:strVal val="#ppt_w"/>
                                          </p:val>
                                        </p:tav>
                                      </p:tavLst>
                                    </p:anim>
                                    <p:anim calcmode="lin" valueType="num">
                                      <p:cBhvr>
                                        <p:cTn id="18" dur="500" fill="hold"/>
                                        <p:tgtEl>
                                          <p:spTgt spid="2"/>
                                        </p:tgtEl>
                                        <p:attrNameLst>
                                          <p:attrName>ppt_h</p:attrName>
                                        </p:attrNameLst>
                                      </p:cBhvr>
                                      <p:tavLst>
                                        <p:tav tm="0">
                                          <p:val>
                                            <p:fltVal val="0"/>
                                          </p:val>
                                        </p:tav>
                                        <p:tav tm="100000">
                                          <p:val>
                                            <p:strVal val="#ppt_h"/>
                                          </p:val>
                                        </p:tav>
                                      </p:tavLst>
                                    </p:anim>
                                    <p:animEffect transition="in" filter="fade">
                                      <p:cBhvr>
                                        <p:cTn id="19" dur="500"/>
                                        <p:tgtEl>
                                          <p:spTgt spid="2"/>
                                        </p:tgtEl>
                                      </p:cBhvr>
                                    </p:animEffect>
                                  </p:childTnLst>
                                </p:cTn>
                              </p:par>
                              <p:par>
                                <p:cTn id="20" presetID="53" presetClass="entr" presetSubtype="16" fill="hold" nodeType="with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p:cTn id="22" dur="500" fill="hold"/>
                                        <p:tgtEl>
                                          <p:spTgt spid="22"/>
                                        </p:tgtEl>
                                        <p:attrNameLst>
                                          <p:attrName>ppt_w</p:attrName>
                                        </p:attrNameLst>
                                      </p:cBhvr>
                                      <p:tavLst>
                                        <p:tav tm="0">
                                          <p:val>
                                            <p:fltVal val="0"/>
                                          </p:val>
                                        </p:tav>
                                        <p:tav tm="100000">
                                          <p:val>
                                            <p:strVal val="#ppt_w"/>
                                          </p:val>
                                        </p:tav>
                                      </p:tavLst>
                                    </p:anim>
                                    <p:anim calcmode="lin" valueType="num">
                                      <p:cBhvr>
                                        <p:cTn id="23" dur="500" fill="hold"/>
                                        <p:tgtEl>
                                          <p:spTgt spid="22"/>
                                        </p:tgtEl>
                                        <p:attrNameLst>
                                          <p:attrName>ppt_h</p:attrName>
                                        </p:attrNameLst>
                                      </p:cBhvr>
                                      <p:tavLst>
                                        <p:tav tm="0">
                                          <p:val>
                                            <p:fltVal val="0"/>
                                          </p:val>
                                        </p:tav>
                                        <p:tav tm="100000">
                                          <p:val>
                                            <p:strVal val="#ppt_h"/>
                                          </p:val>
                                        </p:tav>
                                      </p:tavLst>
                                    </p:anim>
                                    <p:animEffect transition="in" filter="fade">
                                      <p:cBhvr>
                                        <p:cTn id="24" dur="500"/>
                                        <p:tgtEl>
                                          <p:spTgt spid="22"/>
                                        </p:tgtEl>
                                      </p:cBhvr>
                                    </p:animEffect>
                                  </p:childTnLst>
                                </p:cTn>
                              </p:par>
                              <p:par>
                                <p:cTn id="25" presetID="53" presetClass="entr" presetSubtype="16" fill="hold" nodeType="withEffect">
                                  <p:stCondLst>
                                    <p:cond delay="0"/>
                                  </p:stCondLst>
                                  <p:childTnLst>
                                    <p:set>
                                      <p:cBhvr>
                                        <p:cTn id="26" dur="1" fill="hold">
                                          <p:stCondLst>
                                            <p:cond delay="0"/>
                                          </p:stCondLst>
                                        </p:cTn>
                                        <p:tgtEl>
                                          <p:spTgt spid="33"/>
                                        </p:tgtEl>
                                        <p:attrNameLst>
                                          <p:attrName>style.visibility</p:attrName>
                                        </p:attrNameLst>
                                      </p:cBhvr>
                                      <p:to>
                                        <p:strVal val="visible"/>
                                      </p:to>
                                    </p:set>
                                    <p:anim calcmode="lin" valueType="num">
                                      <p:cBhvr>
                                        <p:cTn id="27" dur="500" fill="hold"/>
                                        <p:tgtEl>
                                          <p:spTgt spid="33"/>
                                        </p:tgtEl>
                                        <p:attrNameLst>
                                          <p:attrName>ppt_w</p:attrName>
                                        </p:attrNameLst>
                                      </p:cBhvr>
                                      <p:tavLst>
                                        <p:tav tm="0">
                                          <p:val>
                                            <p:fltVal val="0"/>
                                          </p:val>
                                        </p:tav>
                                        <p:tav tm="100000">
                                          <p:val>
                                            <p:strVal val="#ppt_w"/>
                                          </p:val>
                                        </p:tav>
                                      </p:tavLst>
                                    </p:anim>
                                    <p:anim calcmode="lin" valueType="num">
                                      <p:cBhvr>
                                        <p:cTn id="28" dur="500" fill="hold"/>
                                        <p:tgtEl>
                                          <p:spTgt spid="33"/>
                                        </p:tgtEl>
                                        <p:attrNameLst>
                                          <p:attrName>ppt_h</p:attrName>
                                        </p:attrNameLst>
                                      </p:cBhvr>
                                      <p:tavLst>
                                        <p:tav tm="0">
                                          <p:val>
                                            <p:fltVal val="0"/>
                                          </p:val>
                                        </p:tav>
                                        <p:tav tm="100000">
                                          <p:val>
                                            <p:strVal val="#ppt_h"/>
                                          </p:val>
                                        </p:tav>
                                      </p:tavLst>
                                    </p:anim>
                                    <p:animEffect transition="in" filter="fade">
                                      <p:cBhvr>
                                        <p:cTn id="29" dur="500"/>
                                        <p:tgtEl>
                                          <p:spTgt spid="33"/>
                                        </p:tgtEl>
                                      </p:cBhvr>
                                    </p:animEffect>
                                  </p:childTnLst>
                                </p:cTn>
                              </p:par>
                            </p:childTnLst>
                          </p:cTn>
                        </p:par>
                      </p:childTnLst>
                    </p:cTn>
                  </p:par>
                  <p:par>
                    <p:cTn id="30" fill="hold">
                      <p:stCondLst>
                        <p:cond delay="indefinite"/>
                      </p:stCondLst>
                      <p:childTnLst>
                        <p:par>
                          <p:cTn id="31" fill="hold">
                            <p:stCondLst>
                              <p:cond delay="0"/>
                            </p:stCondLst>
                            <p:childTnLst>
                              <p:par>
                                <p:cTn id="32" presetID="12" presetClass="entr" presetSubtype="4" fill="hold" grpId="0" nodeType="clickEffect">
                                  <p:stCondLst>
                                    <p:cond delay="0"/>
                                  </p:stCondLst>
                                  <p:childTnLst>
                                    <p:set>
                                      <p:cBhvr>
                                        <p:cTn id="33" dur="1" fill="hold">
                                          <p:stCondLst>
                                            <p:cond delay="0"/>
                                          </p:stCondLst>
                                        </p:cTn>
                                        <p:tgtEl>
                                          <p:spTgt spid="34"/>
                                        </p:tgtEl>
                                        <p:attrNameLst>
                                          <p:attrName>style.visibility</p:attrName>
                                        </p:attrNameLst>
                                      </p:cBhvr>
                                      <p:to>
                                        <p:strVal val="visible"/>
                                      </p:to>
                                    </p:set>
                                    <p:anim calcmode="lin" valueType="num">
                                      <p:cBhvr additive="base">
                                        <p:cTn id="34" dur="500"/>
                                        <p:tgtEl>
                                          <p:spTgt spid="34"/>
                                        </p:tgtEl>
                                        <p:attrNameLst>
                                          <p:attrName>ppt_y</p:attrName>
                                        </p:attrNameLst>
                                      </p:cBhvr>
                                      <p:tavLst>
                                        <p:tav tm="0">
                                          <p:val>
                                            <p:strVal val="#ppt_y+#ppt_h*1.125000"/>
                                          </p:val>
                                        </p:tav>
                                        <p:tav tm="100000">
                                          <p:val>
                                            <p:strVal val="#ppt_y"/>
                                          </p:val>
                                        </p:tav>
                                      </p:tavLst>
                                    </p:anim>
                                    <p:animEffect transition="in" filter="wipe(up)">
                                      <p:cBhvr>
                                        <p:cTn id="35" dur="500"/>
                                        <p:tgtEl>
                                          <p:spTgt spid="34"/>
                                        </p:tgtEl>
                                      </p:cBhvr>
                                    </p:animEffect>
                                  </p:childTnLst>
                                </p:cTn>
                              </p:par>
                              <p:par>
                                <p:cTn id="36" presetID="12" presetClass="entr" presetSubtype="4" fill="hold" grpId="0" nodeType="withEffect">
                                  <p:stCondLst>
                                    <p:cond delay="0"/>
                                  </p:stCondLst>
                                  <p:childTnLst>
                                    <p:set>
                                      <p:cBhvr>
                                        <p:cTn id="37" dur="1" fill="hold">
                                          <p:stCondLst>
                                            <p:cond delay="0"/>
                                          </p:stCondLst>
                                        </p:cTn>
                                        <p:tgtEl>
                                          <p:spTgt spid="35"/>
                                        </p:tgtEl>
                                        <p:attrNameLst>
                                          <p:attrName>style.visibility</p:attrName>
                                        </p:attrNameLst>
                                      </p:cBhvr>
                                      <p:to>
                                        <p:strVal val="visible"/>
                                      </p:to>
                                    </p:set>
                                    <p:anim calcmode="lin" valueType="num">
                                      <p:cBhvr additive="base">
                                        <p:cTn id="38" dur="500"/>
                                        <p:tgtEl>
                                          <p:spTgt spid="35"/>
                                        </p:tgtEl>
                                        <p:attrNameLst>
                                          <p:attrName>ppt_y</p:attrName>
                                        </p:attrNameLst>
                                      </p:cBhvr>
                                      <p:tavLst>
                                        <p:tav tm="0">
                                          <p:val>
                                            <p:strVal val="#ppt_y+#ppt_h*1.125000"/>
                                          </p:val>
                                        </p:tav>
                                        <p:tav tm="100000">
                                          <p:val>
                                            <p:strVal val="#ppt_y"/>
                                          </p:val>
                                        </p:tav>
                                      </p:tavLst>
                                    </p:anim>
                                    <p:animEffect transition="in" filter="wipe(up)">
                                      <p:cBhvr>
                                        <p:cTn id="39" dur="500"/>
                                        <p:tgtEl>
                                          <p:spTgt spid="35"/>
                                        </p:tgtEl>
                                      </p:cBhvr>
                                    </p:animEffect>
                                  </p:childTnLst>
                                </p:cTn>
                              </p:par>
                              <p:par>
                                <p:cTn id="40" presetID="12" presetClass="entr" presetSubtype="4" fill="hold" grpId="0" nodeType="withEffect">
                                  <p:stCondLst>
                                    <p:cond delay="0"/>
                                  </p:stCondLst>
                                  <p:childTnLst>
                                    <p:set>
                                      <p:cBhvr>
                                        <p:cTn id="41" dur="1" fill="hold">
                                          <p:stCondLst>
                                            <p:cond delay="0"/>
                                          </p:stCondLst>
                                        </p:cTn>
                                        <p:tgtEl>
                                          <p:spTgt spid="36"/>
                                        </p:tgtEl>
                                        <p:attrNameLst>
                                          <p:attrName>style.visibility</p:attrName>
                                        </p:attrNameLst>
                                      </p:cBhvr>
                                      <p:to>
                                        <p:strVal val="visible"/>
                                      </p:to>
                                    </p:set>
                                    <p:anim calcmode="lin" valueType="num">
                                      <p:cBhvr additive="base">
                                        <p:cTn id="42" dur="500"/>
                                        <p:tgtEl>
                                          <p:spTgt spid="36"/>
                                        </p:tgtEl>
                                        <p:attrNameLst>
                                          <p:attrName>ppt_y</p:attrName>
                                        </p:attrNameLst>
                                      </p:cBhvr>
                                      <p:tavLst>
                                        <p:tav tm="0">
                                          <p:val>
                                            <p:strVal val="#ppt_y+#ppt_h*1.125000"/>
                                          </p:val>
                                        </p:tav>
                                        <p:tav tm="100000">
                                          <p:val>
                                            <p:strVal val="#ppt_y"/>
                                          </p:val>
                                        </p:tav>
                                      </p:tavLst>
                                    </p:anim>
                                    <p:animEffect transition="in" filter="wipe(up)">
                                      <p:cBhvr>
                                        <p:cTn id="43" dur="500"/>
                                        <p:tgtEl>
                                          <p:spTgt spid="36"/>
                                        </p:tgtEl>
                                      </p:cBhvr>
                                    </p:animEffect>
                                  </p:childTnLst>
                                </p:cTn>
                              </p:par>
                              <p:par>
                                <p:cTn id="44" presetID="12" presetClass="entr" presetSubtype="4" fill="hold" grpId="0" nodeType="withEffect">
                                  <p:stCondLst>
                                    <p:cond delay="0"/>
                                  </p:stCondLst>
                                  <p:childTnLst>
                                    <p:set>
                                      <p:cBhvr>
                                        <p:cTn id="45" dur="1" fill="hold">
                                          <p:stCondLst>
                                            <p:cond delay="0"/>
                                          </p:stCondLst>
                                        </p:cTn>
                                        <p:tgtEl>
                                          <p:spTgt spid="37"/>
                                        </p:tgtEl>
                                        <p:attrNameLst>
                                          <p:attrName>style.visibility</p:attrName>
                                        </p:attrNameLst>
                                      </p:cBhvr>
                                      <p:to>
                                        <p:strVal val="visible"/>
                                      </p:to>
                                    </p:set>
                                    <p:anim calcmode="lin" valueType="num">
                                      <p:cBhvr additive="base">
                                        <p:cTn id="46" dur="500"/>
                                        <p:tgtEl>
                                          <p:spTgt spid="37"/>
                                        </p:tgtEl>
                                        <p:attrNameLst>
                                          <p:attrName>ppt_y</p:attrName>
                                        </p:attrNameLst>
                                      </p:cBhvr>
                                      <p:tavLst>
                                        <p:tav tm="0">
                                          <p:val>
                                            <p:strVal val="#ppt_y+#ppt_h*1.125000"/>
                                          </p:val>
                                        </p:tav>
                                        <p:tav tm="100000">
                                          <p:val>
                                            <p:strVal val="#ppt_y"/>
                                          </p:val>
                                        </p:tav>
                                      </p:tavLst>
                                    </p:anim>
                                    <p:animEffect transition="in" filter="wipe(up)">
                                      <p:cBhvr>
                                        <p:cTn id="47" dur="500"/>
                                        <p:tgtEl>
                                          <p:spTgt spid="37"/>
                                        </p:tgtEl>
                                      </p:cBhvr>
                                    </p:animEffect>
                                  </p:childTnLst>
                                </p:cTn>
                              </p:par>
                            </p:childTnLst>
                          </p:cTn>
                        </p:par>
                      </p:childTnLst>
                    </p:cTn>
                  </p:par>
                  <p:par>
                    <p:cTn id="48" fill="hold">
                      <p:stCondLst>
                        <p:cond delay="indefinite"/>
                      </p:stCondLst>
                      <p:childTnLst>
                        <p:par>
                          <p:cTn id="49" fill="hold">
                            <p:stCondLst>
                              <p:cond delay="0"/>
                            </p:stCondLst>
                            <p:childTnLst>
                              <p:par>
                                <p:cTn id="50" presetID="12" presetClass="entr" presetSubtype="4" fill="hold" grpId="0" nodeType="clickEffect">
                                  <p:stCondLst>
                                    <p:cond delay="0"/>
                                  </p:stCondLst>
                                  <p:childTnLst>
                                    <p:set>
                                      <p:cBhvr>
                                        <p:cTn id="51" dur="1" fill="hold">
                                          <p:stCondLst>
                                            <p:cond delay="0"/>
                                          </p:stCondLst>
                                        </p:cTn>
                                        <p:tgtEl>
                                          <p:spTgt spid="58"/>
                                        </p:tgtEl>
                                        <p:attrNameLst>
                                          <p:attrName>style.visibility</p:attrName>
                                        </p:attrNameLst>
                                      </p:cBhvr>
                                      <p:to>
                                        <p:strVal val="visible"/>
                                      </p:to>
                                    </p:set>
                                    <p:anim calcmode="lin" valueType="num">
                                      <p:cBhvr additive="base">
                                        <p:cTn id="52" dur="500"/>
                                        <p:tgtEl>
                                          <p:spTgt spid="58"/>
                                        </p:tgtEl>
                                        <p:attrNameLst>
                                          <p:attrName>ppt_y</p:attrName>
                                        </p:attrNameLst>
                                      </p:cBhvr>
                                      <p:tavLst>
                                        <p:tav tm="0">
                                          <p:val>
                                            <p:strVal val="#ppt_y+#ppt_h*1.125000"/>
                                          </p:val>
                                        </p:tav>
                                        <p:tav tm="100000">
                                          <p:val>
                                            <p:strVal val="#ppt_y"/>
                                          </p:val>
                                        </p:tav>
                                      </p:tavLst>
                                    </p:anim>
                                    <p:animEffect transition="in" filter="wipe(up)">
                                      <p:cBhvr>
                                        <p:cTn id="53" dur="500"/>
                                        <p:tgtEl>
                                          <p:spTgt spid="58"/>
                                        </p:tgtEl>
                                      </p:cBhvr>
                                    </p:animEffect>
                                  </p:childTnLst>
                                </p:cTn>
                              </p:par>
                              <p:par>
                                <p:cTn id="54" presetID="12" presetClass="entr" presetSubtype="4" fill="hold" grpId="0" nodeType="withEffect">
                                  <p:stCondLst>
                                    <p:cond delay="0"/>
                                  </p:stCondLst>
                                  <p:childTnLst>
                                    <p:set>
                                      <p:cBhvr>
                                        <p:cTn id="55" dur="1" fill="hold">
                                          <p:stCondLst>
                                            <p:cond delay="0"/>
                                          </p:stCondLst>
                                        </p:cTn>
                                        <p:tgtEl>
                                          <p:spTgt spid="42"/>
                                        </p:tgtEl>
                                        <p:attrNameLst>
                                          <p:attrName>style.visibility</p:attrName>
                                        </p:attrNameLst>
                                      </p:cBhvr>
                                      <p:to>
                                        <p:strVal val="visible"/>
                                      </p:to>
                                    </p:set>
                                    <p:anim calcmode="lin" valueType="num">
                                      <p:cBhvr additive="base">
                                        <p:cTn id="56" dur="500"/>
                                        <p:tgtEl>
                                          <p:spTgt spid="42"/>
                                        </p:tgtEl>
                                        <p:attrNameLst>
                                          <p:attrName>ppt_y</p:attrName>
                                        </p:attrNameLst>
                                      </p:cBhvr>
                                      <p:tavLst>
                                        <p:tav tm="0">
                                          <p:val>
                                            <p:strVal val="#ppt_y+#ppt_h*1.125000"/>
                                          </p:val>
                                        </p:tav>
                                        <p:tav tm="100000">
                                          <p:val>
                                            <p:strVal val="#ppt_y"/>
                                          </p:val>
                                        </p:tav>
                                      </p:tavLst>
                                    </p:anim>
                                    <p:animEffect transition="in" filter="wipe(up)">
                                      <p:cBhvr>
                                        <p:cTn id="57" dur="500"/>
                                        <p:tgtEl>
                                          <p:spTgt spid="42"/>
                                        </p:tgtEl>
                                      </p:cBhvr>
                                    </p:animEffect>
                                  </p:childTnLst>
                                </p:cTn>
                              </p:par>
                              <p:par>
                                <p:cTn id="58" presetID="12" presetClass="entr" presetSubtype="4" fill="hold" grpId="0" nodeType="withEffect">
                                  <p:stCondLst>
                                    <p:cond delay="0"/>
                                  </p:stCondLst>
                                  <p:childTnLst>
                                    <p:set>
                                      <p:cBhvr>
                                        <p:cTn id="59" dur="1" fill="hold">
                                          <p:stCondLst>
                                            <p:cond delay="0"/>
                                          </p:stCondLst>
                                        </p:cTn>
                                        <p:tgtEl>
                                          <p:spTgt spid="41"/>
                                        </p:tgtEl>
                                        <p:attrNameLst>
                                          <p:attrName>style.visibility</p:attrName>
                                        </p:attrNameLst>
                                      </p:cBhvr>
                                      <p:to>
                                        <p:strVal val="visible"/>
                                      </p:to>
                                    </p:set>
                                    <p:anim calcmode="lin" valueType="num">
                                      <p:cBhvr additive="base">
                                        <p:cTn id="60" dur="500"/>
                                        <p:tgtEl>
                                          <p:spTgt spid="41"/>
                                        </p:tgtEl>
                                        <p:attrNameLst>
                                          <p:attrName>ppt_y</p:attrName>
                                        </p:attrNameLst>
                                      </p:cBhvr>
                                      <p:tavLst>
                                        <p:tav tm="0">
                                          <p:val>
                                            <p:strVal val="#ppt_y+#ppt_h*1.125000"/>
                                          </p:val>
                                        </p:tav>
                                        <p:tav tm="100000">
                                          <p:val>
                                            <p:strVal val="#ppt_y"/>
                                          </p:val>
                                        </p:tav>
                                      </p:tavLst>
                                    </p:anim>
                                    <p:animEffect transition="in" filter="wipe(up)">
                                      <p:cBhvr>
                                        <p:cTn id="61" dur="500"/>
                                        <p:tgtEl>
                                          <p:spTgt spid="41"/>
                                        </p:tgtEl>
                                      </p:cBhvr>
                                    </p:animEffect>
                                  </p:childTnLst>
                                </p:cTn>
                              </p:par>
                              <p:par>
                                <p:cTn id="62" presetID="12" presetClass="entr" presetSubtype="4" fill="hold" grpId="0" nodeType="withEffect">
                                  <p:stCondLst>
                                    <p:cond delay="0"/>
                                  </p:stCondLst>
                                  <p:childTnLst>
                                    <p:set>
                                      <p:cBhvr>
                                        <p:cTn id="63" dur="1" fill="hold">
                                          <p:stCondLst>
                                            <p:cond delay="0"/>
                                          </p:stCondLst>
                                        </p:cTn>
                                        <p:tgtEl>
                                          <p:spTgt spid="40"/>
                                        </p:tgtEl>
                                        <p:attrNameLst>
                                          <p:attrName>style.visibility</p:attrName>
                                        </p:attrNameLst>
                                      </p:cBhvr>
                                      <p:to>
                                        <p:strVal val="visible"/>
                                      </p:to>
                                    </p:set>
                                    <p:anim calcmode="lin" valueType="num">
                                      <p:cBhvr additive="base">
                                        <p:cTn id="64" dur="500"/>
                                        <p:tgtEl>
                                          <p:spTgt spid="40"/>
                                        </p:tgtEl>
                                        <p:attrNameLst>
                                          <p:attrName>ppt_y</p:attrName>
                                        </p:attrNameLst>
                                      </p:cBhvr>
                                      <p:tavLst>
                                        <p:tav tm="0">
                                          <p:val>
                                            <p:strVal val="#ppt_y+#ppt_h*1.125000"/>
                                          </p:val>
                                        </p:tav>
                                        <p:tav tm="100000">
                                          <p:val>
                                            <p:strVal val="#ppt_y"/>
                                          </p:val>
                                        </p:tav>
                                      </p:tavLst>
                                    </p:anim>
                                    <p:animEffect transition="in" filter="wipe(up)">
                                      <p:cBhvr>
                                        <p:cTn id="65" dur="500"/>
                                        <p:tgtEl>
                                          <p:spTgt spid="40"/>
                                        </p:tgtEl>
                                      </p:cBhvr>
                                    </p:animEffect>
                                  </p:childTnLst>
                                </p:cTn>
                              </p:par>
                              <p:par>
                                <p:cTn id="66" presetID="12" presetClass="entr" presetSubtype="4" fill="hold" grpId="0" nodeType="withEffect">
                                  <p:stCondLst>
                                    <p:cond delay="0"/>
                                  </p:stCondLst>
                                  <p:childTnLst>
                                    <p:set>
                                      <p:cBhvr>
                                        <p:cTn id="67" dur="1" fill="hold">
                                          <p:stCondLst>
                                            <p:cond delay="0"/>
                                          </p:stCondLst>
                                        </p:cTn>
                                        <p:tgtEl>
                                          <p:spTgt spid="39"/>
                                        </p:tgtEl>
                                        <p:attrNameLst>
                                          <p:attrName>style.visibility</p:attrName>
                                        </p:attrNameLst>
                                      </p:cBhvr>
                                      <p:to>
                                        <p:strVal val="visible"/>
                                      </p:to>
                                    </p:set>
                                    <p:anim calcmode="lin" valueType="num">
                                      <p:cBhvr additive="base">
                                        <p:cTn id="68" dur="500"/>
                                        <p:tgtEl>
                                          <p:spTgt spid="39"/>
                                        </p:tgtEl>
                                        <p:attrNameLst>
                                          <p:attrName>ppt_y</p:attrName>
                                        </p:attrNameLst>
                                      </p:cBhvr>
                                      <p:tavLst>
                                        <p:tav tm="0">
                                          <p:val>
                                            <p:strVal val="#ppt_y+#ppt_h*1.125000"/>
                                          </p:val>
                                        </p:tav>
                                        <p:tav tm="100000">
                                          <p:val>
                                            <p:strVal val="#ppt_y"/>
                                          </p:val>
                                        </p:tav>
                                      </p:tavLst>
                                    </p:anim>
                                    <p:animEffect transition="in" filter="wipe(up)">
                                      <p:cBhvr>
                                        <p:cTn id="69" dur="500"/>
                                        <p:tgtEl>
                                          <p:spTgt spid="39"/>
                                        </p:tgtEl>
                                      </p:cBhvr>
                                    </p:animEffect>
                                  </p:childTnLst>
                                </p:cTn>
                              </p:par>
                              <p:par>
                                <p:cTn id="70" presetID="12" presetClass="entr" presetSubtype="4" fill="hold" grpId="0" nodeType="withEffect">
                                  <p:stCondLst>
                                    <p:cond delay="0"/>
                                  </p:stCondLst>
                                  <p:childTnLst>
                                    <p:set>
                                      <p:cBhvr>
                                        <p:cTn id="71" dur="1" fill="hold">
                                          <p:stCondLst>
                                            <p:cond delay="0"/>
                                          </p:stCondLst>
                                        </p:cTn>
                                        <p:tgtEl>
                                          <p:spTgt spid="38"/>
                                        </p:tgtEl>
                                        <p:attrNameLst>
                                          <p:attrName>style.visibility</p:attrName>
                                        </p:attrNameLst>
                                      </p:cBhvr>
                                      <p:to>
                                        <p:strVal val="visible"/>
                                      </p:to>
                                    </p:set>
                                    <p:anim calcmode="lin" valueType="num">
                                      <p:cBhvr additive="base">
                                        <p:cTn id="72" dur="500"/>
                                        <p:tgtEl>
                                          <p:spTgt spid="38"/>
                                        </p:tgtEl>
                                        <p:attrNameLst>
                                          <p:attrName>ppt_y</p:attrName>
                                        </p:attrNameLst>
                                      </p:cBhvr>
                                      <p:tavLst>
                                        <p:tav tm="0">
                                          <p:val>
                                            <p:strVal val="#ppt_y+#ppt_h*1.125000"/>
                                          </p:val>
                                        </p:tav>
                                        <p:tav tm="100000">
                                          <p:val>
                                            <p:strVal val="#ppt_y"/>
                                          </p:val>
                                        </p:tav>
                                      </p:tavLst>
                                    </p:anim>
                                    <p:animEffect transition="in" filter="wipe(up)">
                                      <p:cBhvr>
                                        <p:cTn id="73"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2" grpId="0">
        <p:bldAsOne/>
      </p:bldGraphic>
      <p:bldP spid="34" grpId="0" animBg="1"/>
      <p:bldP spid="35" grpId="0" animBg="1"/>
      <p:bldP spid="36" grpId="0" animBg="1"/>
      <p:bldP spid="37" grpId="0" animBg="1"/>
      <p:bldP spid="38" grpId="0" animBg="1"/>
      <p:bldP spid="39" grpId="0" animBg="1"/>
      <p:bldP spid="40" grpId="0" animBg="1"/>
      <p:bldP spid="41" grpId="0" animBg="1"/>
      <p:bldP spid="42" grpId="0" animBg="1"/>
      <p:bldP spid="5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en-US" dirty="0"/>
              <a:t>Merci Beaucoup!</a:t>
            </a:r>
          </a:p>
        </p:txBody>
      </p:sp>
    </p:spTree>
    <p:extLst>
      <p:ext uri="{BB962C8B-B14F-4D97-AF65-F5344CB8AC3E}">
        <p14:creationId xmlns:p14="http://schemas.microsoft.com/office/powerpoint/2010/main" val="2966989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9" name="Groupe 38">
            <a:extLst>
              <a:ext uri="{FF2B5EF4-FFF2-40B4-BE49-F238E27FC236}">
                <a16:creationId xmlns:a16="http://schemas.microsoft.com/office/drawing/2014/main" id="{E460310D-99C5-4642-9694-41D6EB81D08C}"/>
              </a:ext>
            </a:extLst>
          </p:cNvPr>
          <p:cNvGrpSpPr/>
          <p:nvPr/>
        </p:nvGrpSpPr>
        <p:grpSpPr>
          <a:xfrm>
            <a:off x="4743276" y="1347908"/>
            <a:ext cx="1589881" cy="2081092"/>
            <a:chOff x="4068628" y="1364812"/>
            <a:chExt cx="1589881" cy="2081092"/>
          </a:xfrm>
        </p:grpSpPr>
        <p:pic>
          <p:nvPicPr>
            <p:cNvPr id="19" name="Image 18">
              <a:extLst>
                <a:ext uri="{FF2B5EF4-FFF2-40B4-BE49-F238E27FC236}">
                  <a16:creationId xmlns:a16="http://schemas.microsoft.com/office/drawing/2014/main" id="{4AB34A12-648D-4727-9713-12E107390C62}"/>
                </a:ext>
              </a:extLst>
            </p:cNvPr>
            <p:cNvPicPr>
              <a:picLocks noChangeAspect="1"/>
            </p:cNvPicPr>
            <p:nvPr/>
          </p:nvPicPr>
          <p:blipFill>
            <a:blip r:embed="rId2"/>
            <a:stretch>
              <a:fillRect/>
            </a:stretch>
          </p:blipFill>
          <p:spPr>
            <a:xfrm>
              <a:off x="4428459" y="2420888"/>
              <a:ext cx="870218" cy="1025016"/>
            </a:xfrm>
            <a:prstGeom prst="rect">
              <a:avLst/>
            </a:prstGeom>
          </p:spPr>
        </p:pic>
        <p:sp>
          <p:nvSpPr>
            <p:cNvPr id="20" name="Rectangle 19">
              <a:extLst>
                <a:ext uri="{FF2B5EF4-FFF2-40B4-BE49-F238E27FC236}">
                  <a16:creationId xmlns:a16="http://schemas.microsoft.com/office/drawing/2014/main" id="{5AFA2786-984B-4102-BE3F-CB255F492F39}"/>
                </a:ext>
              </a:extLst>
            </p:cNvPr>
            <p:cNvSpPr/>
            <p:nvPr/>
          </p:nvSpPr>
          <p:spPr>
            <a:xfrm>
              <a:off x="4068628" y="1364812"/>
              <a:ext cx="1589881" cy="646331"/>
            </a:xfrm>
            <a:prstGeom prst="rect">
              <a:avLst/>
            </a:prstGeom>
          </p:spPr>
          <p:txBody>
            <a:bodyPr wrap="square">
              <a:spAutoFit/>
            </a:bodyPr>
            <a:lstStyle/>
            <a:p>
              <a:pPr algn="ctr"/>
              <a:r>
                <a:rPr lang="fr-FR"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Solution de software</a:t>
              </a:r>
            </a:p>
          </p:txBody>
        </p:sp>
      </p:grpSp>
      <p:grpSp>
        <p:nvGrpSpPr>
          <p:cNvPr id="41" name="Groupe 40">
            <a:extLst>
              <a:ext uri="{FF2B5EF4-FFF2-40B4-BE49-F238E27FC236}">
                <a16:creationId xmlns:a16="http://schemas.microsoft.com/office/drawing/2014/main" id="{2054DAAF-61C9-435F-83BF-319DA072BFD6}"/>
              </a:ext>
            </a:extLst>
          </p:cNvPr>
          <p:cNvGrpSpPr/>
          <p:nvPr/>
        </p:nvGrpSpPr>
        <p:grpSpPr>
          <a:xfrm>
            <a:off x="7824192" y="1314326"/>
            <a:ext cx="2041665" cy="2104429"/>
            <a:chOff x="8755415" y="1364812"/>
            <a:chExt cx="2041665" cy="2104429"/>
          </a:xfrm>
        </p:grpSpPr>
        <p:sp>
          <p:nvSpPr>
            <p:cNvPr id="25" name="Rectangle 24">
              <a:extLst>
                <a:ext uri="{FF2B5EF4-FFF2-40B4-BE49-F238E27FC236}">
                  <a16:creationId xmlns:a16="http://schemas.microsoft.com/office/drawing/2014/main" id="{1D036BB7-616C-4D1A-809B-C478BD77A9EE}"/>
                </a:ext>
              </a:extLst>
            </p:cNvPr>
            <p:cNvSpPr/>
            <p:nvPr/>
          </p:nvSpPr>
          <p:spPr>
            <a:xfrm>
              <a:off x="8755415" y="1364812"/>
              <a:ext cx="2041665" cy="923330"/>
            </a:xfrm>
            <a:prstGeom prst="rect">
              <a:avLst/>
            </a:prstGeom>
          </p:spPr>
          <p:txBody>
            <a:bodyPr wrap="square">
              <a:spAutoFit/>
            </a:bodyPr>
            <a:lstStyle/>
            <a:p>
              <a:pPr algn="ctr"/>
              <a:r>
                <a:rPr lang="fr-FR"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Solution</a:t>
              </a:r>
            </a:p>
            <a:p>
              <a:pPr algn="ctr"/>
              <a:r>
                <a:rPr lang="fr-FR"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People ,Tools &amp; Organisation</a:t>
              </a:r>
            </a:p>
          </p:txBody>
        </p:sp>
        <p:pic>
          <p:nvPicPr>
            <p:cNvPr id="31" name="Image 30" descr="Une image contenant pièce&#10;&#10;Description générée automatiquement">
              <a:extLst>
                <a:ext uri="{FF2B5EF4-FFF2-40B4-BE49-F238E27FC236}">
                  <a16:creationId xmlns:a16="http://schemas.microsoft.com/office/drawing/2014/main" id="{C05E7767-2A0B-44F4-854E-5F24A54800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4139" y="2420889"/>
              <a:ext cx="1944216" cy="1048352"/>
            </a:xfrm>
            <a:prstGeom prst="rect">
              <a:avLst/>
            </a:prstGeom>
          </p:spPr>
        </p:pic>
      </p:grpSp>
      <p:grpSp>
        <p:nvGrpSpPr>
          <p:cNvPr id="40" name="Groupe 39">
            <a:extLst>
              <a:ext uri="{FF2B5EF4-FFF2-40B4-BE49-F238E27FC236}">
                <a16:creationId xmlns:a16="http://schemas.microsoft.com/office/drawing/2014/main" id="{34E125F3-8CC0-4ABC-B877-D1119EED0364}"/>
              </a:ext>
            </a:extLst>
          </p:cNvPr>
          <p:cNvGrpSpPr/>
          <p:nvPr/>
        </p:nvGrpSpPr>
        <p:grpSpPr>
          <a:xfrm>
            <a:off x="6057842" y="1347908"/>
            <a:ext cx="2041665" cy="2016933"/>
            <a:chOff x="6144946" y="1369278"/>
            <a:chExt cx="2041665" cy="2016933"/>
          </a:xfrm>
        </p:grpSpPr>
        <p:sp>
          <p:nvSpPr>
            <p:cNvPr id="22" name="Rectangle 21">
              <a:extLst>
                <a:ext uri="{FF2B5EF4-FFF2-40B4-BE49-F238E27FC236}">
                  <a16:creationId xmlns:a16="http://schemas.microsoft.com/office/drawing/2014/main" id="{B8DD11A5-8390-4467-96DE-7DCD56988156}"/>
                </a:ext>
              </a:extLst>
            </p:cNvPr>
            <p:cNvSpPr/>
            <p:nvPr/>
          </p:nvSpPr>
          <p:spPr>
            <a:xfrm>
              <a:off x="6144946" y="1369278"/>
              <a:ext cx="2041665" cy="923330"/>
            </a:xfrm>
            <a:prstGeom prst="rect">
              <a:avLst/>
            </a:prstGeom>
          </p:spPr>
          <p:txBody>
            <a:bodyPr wrap="square">
              <a:spAutoFit/>
            </a:bodyPr>
            <a:lstStyle/>
            <a:p>
              <a:pPr algn="ctr"/>
              <a:r>
                <a:rPr lang="fr-FR"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rPr>
                <a:t>Solution Méthodologie</a:t>
              </a:r>
            </a:p>
            <a:p>
              <a:pPr algn="ctr"/>
              <a:endParaRPr lang="fr-FR" b="1" dirty="0">
                <a:solidFill>
                  <a:schemeClr val="tx1">
                    <a:lumMod val="65000"/>
                    <a:lumOff val="35000"/>
                  </a:schemeClr>
                </a:solidFill>
                <a:effectLst>
                  <a:outerShdw blurRad="38100" dist="38100" dir="2700000" algn="tl">
                    <a:srgbClr val="000000">
                      <a:alpha val="43137"/>
                    </a:srgbClr>
                  </a:outerShdw>
                </a:effectLst>
                <a:latin typeface="Arial Narrow" panose="020B0606020202030204" pitchFamily="34" charset="0"/>
              </a:endParaRPr>
            </a:p>
          </p:txBody>
        </p:sp>
        <p:grpSp>
          <p:nvGrpSpPr>
            <p:cNvPr id="38" name="Groupe 37">
              <a:extLst>
                <a:ext uri="{FF2B5EF4-FFF2-40B4-BE49-F238E27FC236}">
                  <a16:creationId xmlns:a16="http://schemas.microsoft.com/office/drawing/2014/main" id="{2620C9E0-B35B-431D-9EA3-97816491932E}"/>
                </a:ext>
              </a:extLst>
            </p:cNvPr>
            <p:cNvGrpSpPr/>
            <p:nvPr/>
          </p:nvGrpSpPr>
          <p:grpSpPr>
            <a:xfrm>
              <a:off x="6677376" y="2425354"/>
              <a:ext cx="976805" cy="960857"/>
              <a:chOff x="6830875" y="2425354"/>
              <a:chExt cx="976805" cy="960857"/>
            </a:xfrm>
          </p:grpSpPr>
          <p:pic>
            <p:nvPicPr>
              <p:cNvPr id="29" name="Image 28" descr="Une image contenant capture d’écran&#10;&#10;Description générée automatiquement">
                <a:extLst>
                  <a:ext uri="{FF2B5EF4-FFF2-40B4-BE49-F238E27FC236}">
                    <a16:creationId xmlns:a16="http://schemas.microsoft.com/office/drawing/2014/main" id="{CB8F702C-909F-4191-9F33-78C311FE4C1B}"/>
                  </a:ext>
                </a:extLst>
              </p:cNvPr>
              <p:cNvPicPr>
                <a:picLocks noChangeAspect="1"/>
              </p:cNvPicPr>
              <p:nvPr/>
            </p:nvPicPr>
            <p:blipFill rotWithShape="1">
              <a:blip r:embed="rId4">
                <a:extLst>
                  <a:ext uri="{28A0092B-C50C-407E-A947-70E740481C1C}">
                    <a14:useLocalDpi xmlns:a14="http://schemas.microsoft.com/office/drawing/2010/main" val="0"/>
                  </a:ext>
                </a:extLst>
              </a:blip>
              <a:srcRect l="6278" t="13151" r="55479" b="27204"/>
              <a:stretch/>
            </p:blipFill>
            <p:spPr>
              <a:xfrm>
                <a:off x="6830875" y="2425354"/>
                <a:ext cx="976805" cy="960857"/>
              </a:xfrm>
              <a:prstGeom prst="ellipse">
                <a:avLst/>
              </a:prstGeom>
              <a:effectLst>
                <a:outerShdw blurRad="50800" dist="38100" dir="2700000" algn="tl" rotWithShape="0">
                  <a:prstClr val="black">
                    <a:alpha val="40000"/>
                  </a:prstClr>
                </a:outerShdw>
              </a:effectLst>
            </p:spPr>
          </p:pic>
          <p:sp>
            <p:nvSpPr>
              <p:cNvPr id="37" name="ZoneTexte 36">
                <a:extLst>
                  <a:ext uri="{FF2B5EF4-FFF2-40B4-BE49-F238E27FC236}">
                    <a16:creationId xmlns:a16="http://schemas.microsoft.com/office/drawing/2014/main" id="{21CA1B7F-1184-4B45-924F-62CAA81B40CF}"/>
                  </a:ext>
                </a:extLst>
              </p:cNvPr>
              <p:cNvSpPr txBox="1"/>
              <p:nvPr/>
            </p:nvSpPr>
            <p:spPr>
              <a:xfrm>
                <a:off x="7057831" y="2778824"/>
                <a:ext cx="522893" cy="253916"/>
              </a:xfrm>
              <a:prstGeom prst="rect">
                <a:avLst/>
              </a:prstGeom>
              <a:solidFill>
                <a:schemeClr val="bg1"/>
              </a:solidFill>
            </p:spPr>
            <p:txBody>
              <a:bodyPr wrap="square" rtlCol="0">
                <a:spAutoFit/>
              </a:bodyPr>
              <a:lstStyle/>
              <a:p>
                <a:r>
                  <a:rPr lang="fr-FR" sz="1050" b="1" dirty="0">
                    <a:solidFill>
                      <a:srgbClr val="002060"/>
                    </a:solidFill>
                    <a:latin typeface="Arial Nova" panose="020B0504020202020204" pitchFamily="34" charset="0"/>
                  </a:rPr>
                  <a:t>Agile</a:t>
                </a:r>
              </a:p>
            </p:txBody>
          </p:sp>
        </p:grpSp>
      </p:grpSp>
      <p:pic>
        <p:nvPicPr>
          <p:cNvPr id="48" name="Image 47">
            <a:extLst>
              <a:ext uri="{FF2B5EF4-FFF2-40B4-BE49-F238E27FC236}">
                <a16:creationId xmlns:a16="http://schemas.microsoft.com/office/drawing/2014/main" id="{EF0A28F8-0FA2-4256-9AF6-ED0BB48FBE61}"/>
              </a:ext>
            </a:extLst>
          </p:cNvPr>
          <p:cNvPicPr>
            <a:picLocks noChangeAspect="1"/>
          </p:cNvPicPr>
          <p:nvPr/>
        </p:nvPicPr>
        <p:blipFill>
          <a:blip r:embed="rId5"/>
          <a:stretch>
            <a:fillRect/>
          </a:stretch>
        </p:blipFill>
        <p:spPr>
          <a:xfrm>
            <a:off x="203682" y="743334"/>
            <a:ext cx="5852667" cy="5243014"/>
          </a:xfrm>
          <a:prstGeom prst="rect">
            <a:avLst/>
          </a:prstGeom>
        </p:spPr>
      </p:pic>
    </p:spTree>
    <p:extLst>
      <p:ext uri="{BB962C8B-B14F-4D97-AF65-F5344CB8AC3E}">
        <p14:creationId xmlns:p14="http://schemas.microsoft.com/office/powerpoint/2010/main" val="14012236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6F15E0-A8EB-4F5C-B4CC-EA318A444DBD}"/>
              </a:ext>
            </a:extLst>
          </p:cNvPr>
          <p:cNvSpPr>
            <a:spLocks noGrp="1"/>
          </p:cNvSpPr>
          <p:nvPr>
            <p:ph type="title"/>
          </p:nvPr>
        </p:nvSpPr>
        <p:spPr/>
        <p:txBody>
          <a:bodyPr/>
          <a:lstStyle/>
          <a:p>
            <a:endParaRPr lang="fr-FR"/>
          </a:p>
        </p:txBody>
      </p:sp>
      <p:sp>
        <p:nvSpPr>
          <p:cNvPr id="3" name="Espace réservé du texte 2">
            <a:extLst>
              <a:ext uri="{FF2B5EF4-FFF2-40B4-BE49-F238E27FC236}">
                <a16:creationId xmlns:a16="http://schemas.microsoft.com/office/drawing/2014/main" id="{D17EE317-2910-417B-8B01-3E4ADB95FA13}"/>
              </a:ext>
            </a:extLst>
          </p:cNvPr>
          <p:cNvSpPr>
            <a:spLocks noGrp="1"/>
          </p:cNvSpPr>
          <p:nvPr>
            <p:ph type="body" sz="quarter" idx="10"/>
          </p:nvPr>
        </p:nvSpPr>
        <p:spPr/>
        <p:txBody>
          <a:bodyPr/>
          <a:lstStyle/>
          <a:p>
            <a:endParaRPr lang="fr-FR" dirty="0"/>
          </a:p>
        </p:txBody>
      </p:sp>
      <p:sp>
        <p:nvSpPr>
          <p:cNvPr id="4" name="Espace réservé du texte 3">
            <a:extLst>
              <a:ext uri="{FF2B5EF4-FFF2-40B4-BE49-F238E27FC236}">
                <a16:creationId xmlns:a16="http://schemas.microsoft.com/office/drawing/2014/main" id="{48035267-5808-4D88-9FCC-AFF5C206A74B}"/>
              </a:ext>
            </a:extLst>
          </p:cNvPr>
          <p:cNvSpPr>
            <a:spLocks noGrp="1"/>
          </p:cNvSpPr>
          <p:nvPr>
            <p:ph type="body" sz="quarter" idx="11"/>
          </p:nvPr>
        </p:nvSpPr>
        <p:spPr/>
        <p:txBody>
          <a:bodyPr/>
          <a:lstStyle/>
          <a:p>
            <a:endParaRPr lang="fr-FR"/>
          </a:p>
        </p:txBody>
      </p:sp>
      <p:grpSp>
        <p:nvGrpSpPr>
          <p:cNvPr id="5" name="Groupe 4">
            <a:extLst>
              <a:ext uri="{FF2B5EF4-FFF2-40B4-BE49-F238E27FC236}">
                <a16:creationId xmlns:a16="http://schemas.microsoft.com/office/drawing/2014/main" id="{108B38A7-E1F6-4B50-AE48-B563D46D2C24}"/>
              </a:ext>
            </a:extLst>
          </p:cNvPr>
          <p:cNvGrpSpPr/>
          <p:nvPr/>
        </p:nvGrpSpPr>
        <p:grpSpPr>
          <a:xfrm>
            <a:off x="1411022" y="1784725"/>
            <a:ext cx="9416627" cy="4068917"/>
            <a:chOff x="513073" y="1462248"/>
            <a:chExt cx="9416627" cy="4068917"/>
          </a:xfrm>
        </p:grpSpPr>
        <p:grpSp>
          <p:nvGrpSpPr>
            <p:cNvPr id="6" name="Groupe 5">
              <a:extLst>
                <a:ext uri="{FF2B5EF4-FFF2-40B4-BE49-F238E27FC236}">
                  <a16:creationId xmlns:a16="http://schemas.microsoft.com/office/drawing/2014/main" id="{DB4A477B-27EC-4D2B-9295-82B65E337DFF}"/>
                </a:ext>
              </a:extLst>
            </p:cNvPr>
            <p:cNvGrpSpPr/>
            <p:nvPr/>
          </p:nvGrpSpPr>
          <p:grpSpPr>
            <a:xfrm>
              <a:off x="6144531" y="1462248"/>
              <a:ext cx="3785169" cy="3992553"/>
              <a:chOff x="6144531" y="1462248"/>
              <a:chExt cx="3785169" cy="3992553"/>
            </a:xfrm>
          </p:grpSpPr>
          <p:grpSp>
            <p:nvGrpSpPr>
              <p:cNvPr id="39" name="Groupe 38">
                <a:extLst>
                  <a:ext uri="{FF2B5EF4-FFF2-40B4-BE49-F238E27FC236}">
                    <a16:creationId xmlns:a16="http://schemas.microsoft.com/office/drawing/2014/main" id="{3CD4DBB9-B760-4DE2-9457-E16430895B4E}"/>
                  </a:ext>
                </a:extLst>
              </p:cNvPr>
              <p:cNvGrpSpPr/>
              <p:nvPr/>
            </p:nvGrpSpPr>
            <p:grpSpPr>
              <a:xfrm>
                <a:off x="8124259" y="1462248"/>
                <a:ext cx="1805441" cy="3992553"/>
                <a:chOff x="8124259" y="1462248"/>
                <a:chExt cx="1805441" cy="3992553"/>
              </a:xfrm>
            </p:grpSpPr>
            <p:grpSp>
              <p:nvGrpSpPr>
                <p:cNvPr id="50" name="S fold">
                  <a:extLst>
                    <a:ext uri="{FF2B5EF4-FFF2-40B4-BE49-F238E27FC236}">
                      <a16:creationId xmlns:a16="http://schemas.microsoft.com/office/drawing/2014/main" id="{167ADC66-32FF-4D54-B50F-57027E74B84A}"/>
                    </a:ext>
                  </a:extLst>
                </p:cNvPr>
                <p:cNvGrpSpPr/>
                <p:nvPr/>
              </p:nvGrpSpPr>
              <p:grpSpPr>
                <a:xfrm>
                  <a:off x="8124259" y="1462248"/>
                  <a:ext cx="1805441" cy="1894017"/>
                  <a:chOff x="8985148" y="2182683"/>
                  <a:chExt cx="1805441" cy="1894017"/>
                </a:xfrm>
              </p:grpSpPr>
              <p:sp>
                <p:nvSpPr>
                  <p:cNvPr id="56" name="Rectangle: Top Corners Rounded 22">
                    <a:extLst>
                      <a:ext uri="{FF2B5EF4-FFF2-40B4-BE49-F238E27FC236}">
                        <a16:creationId xmlns:a16="http://schemas.microsoft.com/office/drawing/2014/main" id="{4DC8D47B-4664-4B6D-9E69-E3F721FBF9FF}"/>
                      </a:ext>
                    </a:extLst>
                  </p:cNvPr>
                  <p:cNvSpPr/>
                  <p:nvPr/>
                </p:nvSpPr>
                <p:spPr>
                  <a:xfrm>
                    <a:off x="9092078" y="2209800"/>
                    <a:ext cx="1591582" cy="1866900"/>
                  </a:xfrm>
                  <a:prstGeom prst="round2SameRect">
                    <a:avLst>
                      <a:gd name="adj1" fmla="val 12063"/>
                      <a:gd name="adj2" fmla="val 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TextBox 24">
                    <a:extLst>
                      <a:ext uri="{FF2B5EF4-FFF2-40B4-BE49-F238E27FC236}">
                        <a16:creationId xmlns:a16="http://schemas.microsoft.com/office/drawing/2014/main" id="{46F3653C-1879-4FFB-B77A-8616EDF6215F}"/>
                      </a:ext>
                    </a:extLst>
                  </p:cNvPr>
                  <p:cNvSpPr txBox="1"/>
                  <p:nvPr/>
                </p:nvSpPr>
                <p:spPr>
                  <a:xfrm>
                    <a:off x="9440652" y="2563851"/>
                    <a:ext cx="894432" cy="1015663"/>
                  </a:xfrm>
                  <a:prstGeom prst="rect">
                    <a:avLst/>
                  </a:prstGeom>
                  <a:noFill/>
                </p:spPr>
                <p:txBody>
                  <a:bodyPr wrap="square" rtlCol="0">
                    <a:spAutoFit/>
                  </a:bodyPr>
                  <a:lstStyle/>
                  <a:p>
                    <a:pPr algn="ctr"/>
                    <a:r>
                      <a:rPr lang="en-US" sz="6000" b="1" dirty="0">
                        <a:solidFill>
                          <a:srgbClr val="E6E7E9"/>
                        </a:solidFill>
                        <a:latin typeface="Tw Cen MT" panose="020B0602020104020603" pitchFamily="34" charset="0"/>
                      </a:rPr>
                      <a:t>S</a:t>
                    </a:r>
                  </a:p>
                </p:txBody>
              </p:sp>
              <p:sp>
                <p:nvSpPr>
                  <p:cNvPr id="58" name="TextBox 25">
                    <a:extLst>
                      <a:ext uri="{FF2B5EF4-FFF2-40B4-BE49-F238E27FC236}">
                        <a16:creationId xmlns:a16="http://schemas.microsoft.com/office/drawing/2014/main" id="{32AEA9AB-A76D-462A-BFAE-8129155222B2}"/>
                      </a:ext>
                    </a:extLst>
                  </p:cNvPr>
                  <p:cNvSpPr txBox="1"/>
                  <p:nvPr/>
                </p:nvSpPr>
                <p:spPr>
                  <a:xfrm>
                    <a:off x="8985148" y="2182683"/>
                    <a:ext cx="1805441" cy="646331"/>
                  </a:xfrm>
                  <a:prstGeom prst="rect">
                    <a:avLst/>
                  </a:prstGeom>
                  <a:noFill/>
                </p:spPr>
                <p:txBody>
                  <a:bodyPr wrap="square" rtlCol="0">
                    <a:spAutoFit/>
                  </a:bodyPr>
                  <a:lstStyle/>
                  <a:p>
                    <a:pPr algn="ctr"/>
                    <a:r>
                      <a:rPr lang="en-US" sz="3600" b="1" dirty="0">
                        <a:solidFill>
                          <a:srgbClr val="E6E7E9"/>
                        </a:solidFill>
                        <a:latin typeface="Tw Cen MT" panose="020B0602020104020603" pitchFamily="34" charset="0"/>
                      </a:rPr>
                      <a:t>VALUE</a:t>
                    </a:r>
                  </a:p>
                </p:txBody>
              </p:sp>
            </p:grpSp>
            <p:sp>
              <p:nvSpPr>
                <p:cNvPr id="51" name="S slider">
                  <a:extLst>
                    <a:ext uri="{FF2B5EF4-FFF2-40B4-BE49-F238E27FC236}">
                      <a16:creationId xmlns:a16="http://schemas.microsoft.com/office/drawing/2014/main" id="{7096D8A3-8497-4AB5-A7F5-4D85444BA276}"/>
                    </a:ext>
                  </a:extLst>
                </p:cNvPr>
                <p:cNvSpPr/>
                <p:nvPr/>
              </p:nvSpPr>
              <p:spPr>
                <a:xfrm flipV="1">
                  <a:off x="8231189" y="2422815"/>
                  <a:ext cx="1591582" cy="3031986"/>
                </a:xfrm>
                <a:custGeom>
                  <a:avLst/>
                  <a:gdLst>
                    <a:gd name="connsiteX0" fmla="*/ 0 w 1591582"/>
                    <a:gd name="connsiteY0" fmla="*/ 3031986 h 3031986"/>
                    <a:gd name="connsiteX1" fmla="*/ 357641 w 1591582"/>
                    <a:gd name="connsiteY1" fmla="*/ 3031986 h 3031986"/>
                    <a:gd name="connsiteX2" fmla="*/ 795791 w 1591582"/>
                    <a:gd name="connsiteY2" fmla="*/ 2593836 h 3031986"/>
                    <a:gd name="connsiteX3" fmla="*/ 1233941 w 1591582"/>
                    <a:gd name="connsiteY3" fmla="*/ 3031986 h 3031986"/>
                    <a:gd name="connsiteX4" fmla="*/ 1591582 w 1591582"/>
                    <a:gd name="connsiteY4" fmla="*/ 3031986 h 3031986"/>
                    <a:gd name="connsiteX5" fmla="*/ 1591582 w 1591582"/>
                    <a:gd name="connsiteY5" fmla="*/ 314242 h 3031986"/>
                    <a:gd name="connsiteX6" fmla="*/ 1277340 w 1591582"/>
                    <a:gd name="connsiteY6" fmla="*/ 0 h 3031986"/>
                    <a:gd name="connsiteX7" fmla="*/ 314242 w 1591582"/>
                    <a:gd name="connsiteY7" fmla="*/ 0 h 3031986"/>
                    <a:gd name="connsiteX8" fmla="*/ 0 w 1591582"/>
                    <a:gd name="connsiteY8" fmla="*/ 314242 h 303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582" h="3031986">
                      <a:moveTo>
                        <a:pt x="0" y="3031986"/>
                      </a:moveTo>
                      <a:lnTo>
                        <a:pt x="357641" y="3031986"/>
                      </a:lnTo>
                      <a:cubicBezTo>
                        <a:pt x="357641" y="2790002"/>
                        <a:pt x="553807" y="2593836"/>
                        <a:pt x="795791" y="2593836"/>
                      </a:cubicBezTo>
                      <a:cubicBezTo>
                        <a:pt x="1037775" y="2593836"/>
                        <a:pt x="1233941" y="2790002"/>
                        <a:pt x="1233941" y="3031986"/>
                      </a:cubicBezTo>
                      <a:lnTo>
                        <a:pt x="1591582" y="3031986"/>
                      </a:lnTo>
                      <a:lnTo>
                        <a:pt x="1591582" y="314242"/>
                      </a:lnTo>
                      <a:cubicBezTo>
                        <a:pt x="1591582" y="140691"/>
                        <a:pt x="1450891" y="0"/>
                        <a:pt x="1277340" y="0"/>
                      </a:cubicBezTo>
                      <a:lnTo>
                        <a:pt x="314242" y="0"/>
                      </a:lnTo>
                      <a:cubicBezTo>
                        <a:pt x="140691" y="0"/>
                        <a:pt x="0" y="140691"/>
                        <a:pt x="0" y="314242"/>
                      </a:cubicBezTo>
                      <a:close/>
                    </a:path>
                  </a:pathLst>
                </a:custGeom>
                <a:solidFill>
                  <a:schemeClr val="bg1">
                    <a:lumMod val="95000"/>
                  </a:schemeClr>
                </a:solidFill>
                <a:ln>
                  <a:noFill/>
                </a:ln>
                <a:effectLst>
                  <a:outerShdw blurRad="127000" sx="107000" sy="107000" algn="ct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2" name="SHARING">
                  <a:extLst>
                    <a:ext uri="{FF2B5EF4-FFF2-40B4-BE49-F238E27FC236}">
                      <a16:creationId xmlns:a16="http://schemas.microsoft.com/office/drawing/2014/main" id="{65E1AF70-FFE2-4795-9B15-505D9C263BD8}"/>
                    </a:ext>
                  </a:extLst>
                </p:cNvPr>
                <p:cNvGrpSpPr/>
                <p:nvPr/>
              </p:nvGrpSpPr>
              <p:grpSpPr>
                <a:xfrm>
                  <a:off x="8226353" y="3117007"/>
                  <a:ext cx="1591582" cy="1048049"/>
                  <a:chOff x="9087242" y="3837442"/>
                  <a:chExt cx="1591582" cy="1048049"/>
                </a:xfrm>
              </p:grpSpPr>
              <p:sp>
                <p:nvSpPr>
                  <p:cNvPr id="54" name="TextBox 51">
                    <a:extLst>
                      <a:ext uri="{FF2B5EF4-FFF2-40B4-BE49-F238E27FC236}">
                        <a16:creationId xmlns:a16="http://schemas.microsoft.com/office/drawing/2014/main" id="{C8D36AED-82D3-4439-B5D3-FFBEE56B6DF6}"/>
                      </a:ext>
                    </a:extLst>
                  </p:cNvPr>
                  <p:cNvSpPr txBox="1"/>
                  <p:nvPr/>
                </p:nvSpPr>
                <p:spPr>
                  <a:xfrm>
                    <a:off x="9087242" y="3837442"/>
                    <a:ext cx="1591582" cy="338554"/>
                  </a:xfrm>
                  <a:prstGeom prst="rect">
                    <a:avLst/>
                  </a:prstGeom>
                  <a:noFill/>
                </p:spPr>
                <p:txBody>
                  <a:bodyPr wrap="square" rtlCol="0">
                    <a:spAutoFit/>
                  </a:bodyPr>
                  <a:lstStyle/>
                  <a:p>
                    <a:pPr algn="ctr"/>
                    <a:r>
                      <a:rPr lang="en-US" sz="1600" b="1" dirty="0">
                        <a:solidFill>
                          <a:srgbClr val="92D050"/>
                        </a:solidFill>
                        <a:latin typeface="Tw Cen MT" panose="020B0602020104020603" pitchFamily="34" charset="0"/>
                      </a:rPr>
                      <a:t>SHARING</a:t>
                    </a:r>
                    <a:endParaRPr lang="en-US" b="1" dirty="0">
                      <a:solidFill>
                        <a:srgbClr val="92D050"/>
                      </a:solidFill>
                      <a:latin typeface="Tw Cen MT" panose="020B0602020104020603" pitchFamily="34" charset="0"/>
                    </a:endParaRPr>
                  </a:p>
                </p:txBody>
              </p:sp>
              <p:sp>
                <p:nvSpPr>
                  <p:cNvPr id="55" name="TextBox 52">
                    <a:extLst>
                      <a:ext uri="{FF2B5EF4-FFF2-40B4-BE49-F238E27FC236}">
                        <a16:creationId xmlns:a16="http://schemas.microsoft.com/office/drawing/2014/main" id="{383FCD69-71BA-4764-A973-493C75D11A0A}"/>
                      </a:ext>
                    </a:extLst>
                  </p:cNvPr>
                  <p:cNvSpPr txBox="1"/>
                  <p:nvPr/>
                </p:nvSpPr>
                <p:spPr>
                  <a:xfrm>
                    <a:off x="9087242" y="4146827"/>
                    <a:ext cx="1591582" cy="738664"/>
                  </a:xfrm>
                  <a:prstGeom prst="rect">
                    <a:avLst/>
                  </a:prstGeom>
                  <a:noFill/>
                </p:spPr>
                <p:txBody>
                  <a:bodyPr wrap="square" rtlCol="0">
                    <a:spAutoFit/>
                  </a:bodyPr>
                  <a:lstStyle/>
                  <a:p>
                    <a:pPr algn="ctr"/>
                    <a:r>
                      <a:rPr lang="en-US" sz="1400" b="1" dirty="0">
                        <a:solidFill>
                          <a:srgbClr val="A6A6A6"/>
                        </a:solidFill>
                        <a:latin typeface="Tw Cen MT" panose="020B0602020104020603" pitchFamily="34" charset="0"/>
                      </a:rPr>
                      <a:t>Expose metrics</a:t>
                    </a:r>
                  </a:p>
                  <a:p>
                    <a:pPr algn="ctr"/>
                    <a:r>
                      <a:rPr lang="en-US" sz="1400" b="1" dirty="0">
                        <a:solidFill>
                          <a:srgbClr val="A6A6A6"/>
                        </a:solidFill>
                        <a:latin typeface="Tw Cen MT" panose="020B0602020104020603" pitchFamily="34" charset="0"/>
                      </a:rPr>
                      <a:t>Feedbacks</a:t>
                    </a:r>
                  </a:p>
                  <a:p>
                    <a:pPr algn="ctr"/>
                    <a:r>
                      <a:rPr lang="en-US" sz="1400" b="1" dirty="0">
                        <a:solidFill>
                          <a:srgbClr val="A6A6A6"/>
                        </a:solidFill>
                        <a:latin typeface="Tw Cen MT" panose="020B0602020104020603" pitchFamily="34" charset="0"/>
                      </a:rPr>
                      <a:t>Transparency</a:t>
                    </a:r>
                  </a:p>
                </p:txBody>
              </p:sp>
            </p:grpSp>
            <p:pic>
              <p:nvPicPr>
                <p:cNvPr id="53" name="S bulb" descr="Discussion">
                  <a:extLst>
                    <a:ext uri="{FF2B5EF4-FFF2-40B4-BE49-F238E27FC236}">
                      <a16:creationId xmlns:a16="http://schemas.microsoft.com/office/drawing/2014/main" id="{F2470E97-0170-4315-968F-E37C510B07B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64944" y="4228342"/>
                  <a:ext cx="914400" cy="914400"/>
                </a:xfrm>
                <a:prstGeom prst="rect">
                  <a:avLst/>
                </a:prstGeom>
              </p:spPr>
            </p:pic>
          </p:grpSp>
          <p:grpSp>
            <p:nvGrpSpPr>
              <p:cNvPr id="40" name="Groupe 39">
                <a:extLst>
                  <a:ext uri="{FF2B5EF4-FFF2-40B4-BE49-F238E27FC236}">
                    <a16:creationId xmlns:a16="http://schemas.microsoft.com/office/drawing/2014/main" id="{8A7C64BA-70A3-4159-97EC-D886A9592064}"/>
                  </a:ext>
                </a:extLst>
              </p:cNvPr>
              <p:cNvGrpSpPr/>
              <p:nvPr/>
            </p:nvGrpSpPr>
            <p:grpSpPr>
              <a:xfrm>
                <a:off x="6144531" y="1462248"/>
                <a:ext cx="1805441" cy="3992553"/>
                <a:chOff x="6144531" y="1462248"/>
                <a:chExt cx="1805441" cy="3992553"/>
              </a:xfrm>
            </p:grpSpPr>
            <p:grpSp>
              <p:nvGrpSpPr>
                <p:cNvPr id="41" name="M fold">
                  <a:extLst>
                    <a:ext uri="{FF2B5EF4-FFF2-40B4-BE49-F238E27FC236}">
                      <a16:creationId xmlns:a16="http://schemas.microsoft.com/office/drawing/2014/main" id="{2C656DDF-2711-482D-95BA-E5F4C31654C7}"/>
                    </a:ext>
                  </a:extLst>
                </p:cNvPr>
                <p:cNvGrpSpPr/>
                <p:nvPr/>
              </p:nvGrpSpPr>
              <p:grpSpPr>
                <a:xfrm>
                  <a:off x="6144531" y="1462248"/>
                  <a:ext cx="1805441" cy="1894017"/>
                  <a:chOff x="6381342" y="2182683"/>
                  <a:chExt cx="1805441" cy="1894017"/>
                </a:xfrm>
              </p:grpSpPr>
              <p:sp>
                <p:nvSpPr>
                  <p:cNvPr id="47" name="Rectangle: Top Corners Rounded 18">
                    <a:extLst>
                      <a:ext uri="{FF2B5EF4-FFF2-40B4-BE49-F238E27FC236}">
                        <a16:creationId xmlns:a16="http://schemas.microsoft.com/office/drawing/2014/main" id="{B3178806-453F-436E-9EBD-365CAC40AD12}"/>
                      </a:ext>
                    </a:extLst>
                  </p:cNvPr>
                  <p:cNvSpPr/>
                  <p:nvPr/>
                </p:nvSpPr>
                <p:spPr>
                  <a:xfrm>
                    <a:off x="6488272" y="2209800"/>
                    <a:ext cx="1591582" cy="1866900"/>
                  </a:xfrm>
                  <a:prstGeom prst="round2SameRect">
                    <a:avLst>
                      <a:gd name="adj1" fmla="val 12063"/>
                      <a:gd name="adj2" fmla="val 0"/>
                    </a:avLst>
                  </a:prstGeom>
                  <a:solidFill>
                    <a:srgbClr val="F723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21">
                    <a:extLst>
                      <a:ext uri="{FF2B5EF4-FFF2-40B4-BE49-F238E27FC236}">
                        <a16:creationId xmlns:a16="http://schemas.microsoft.com/office/drawing/2014/main" id="{B8AABC24-6DCF-47B6-97AA-2216266736FF}"/>
                      </a:ext>
                    </a:extLst>
                  </p:cNvPr>
                  <p:cNvSpPr txBox="1"/>
                  <p:nvPr/>
                </p:nvSpPr>
                <p:spPr>
                  <a:xfrm>
                    <a:off x="6381342" y="2182683"/>
                    <a:ext cx="1805441" cy="646331"/>
                  </a:xfrm>
                  <a:prstGeom prst="rect">
                    <a:avLst/>
                  </a:prstGeom>
                  <a:noFill/>
                </p:spPr>
                <p:txBody>
                  <a:bodyPr wrap="square" rtlCol="0">
                    <a:spAutoFit/>
                  </a:bodyPr>
                  <a:lstStyle/>
                  <a:p>
                    <a:pPr algn="ctr"/>
                    <a:r>
                      <a:rPr lang="en-US" sz="3600" b="1" dirty="0">
                        <a:solidFill>
                          <a:srgbClr val="E6E7E9"/>
                        </a:solidFill>
                        <a:latin typeface="Tw Cen MT" panose="020B0602020104020603" pitchFamily="34" charset="0"/>
                      </a:rPr>
                      <a:t>VALUE</a:t>
                    </a:r>
                  </a:p>
                </p:txBody>
              </p:sp>
              <p:sp>
                <p:nvSpPr>
                  <p:cNvPr id="49" name="TextBox 26">
                    <a:extLst>
                      <a:ext uri="{FF2B5EF4-FFF2-40B4-BE49-F238E27FC236}">
                        <a16:creationId xmlns:a16="http://schemas.microsoft.com/office/drawing/2014/main" id="{96510960-EA4A-4A02-97AE-45431F2C5624}"/>
                      </a:ext>
                    </a:extLst>
                  </p:cNvPr>
                  <p:cNvSpPr txBox="1"/>
                  <p:nvPr/>
                </p:nvSpPr>
                <p:spPr>
                  <a:xfrm>
                    <a:off x="6836846" y="2563851"/>
                    <a:ext cx="894432" cy="1015663"/>
                  </a:xfrm>
                  <a:prstGeom prst="rect">
                    <a:avLst/>
                  </a:prstGeom>
                  <a:noFill/>
                </p:spPr>
                <p:txBody>
                  <a:bodyPr wrap="square" rtlCol="0">
                    <a:spAutoFit/>
                  </a:bodyPr>
                  <a:lstStyle/>
                  <a:p>
                    <a:pPr algn="ctr"/>
                    <a:r>
                      <a:rPr lang="en-US" sz="6000" b="1" dirty="0">
                        <a:solidFill>
                          <a:srgbClr val="E6E7E9"/>
                        </a:solidFill>
                        <a:latin typeface="Tw Cen MT" panose="020B0602020104020603" pitchFamily="34" charset="0"/>
                      </a:rPr>
                      <a:t>M</a:t>
                    </a:r>
                  </a:p>
                </p:txBody>
              </p:sp>
            </p:grpSp>
            <p:sp>
              <p:nvSpPr>
                <p:cNvPr id="42" name="M slider">
                  <a:extLst>
                    <a:ext uri="{FF2B5EF4-FFF2-40B4-BE49-F238E27FC236}">
                      <a16:creationId xmlns:a16="http://schemas.microsoft.com/office/drawing/2014/main" id="{37EAE070-E390-462B-BAAB-BCADC07533B3}"/>
                    </a:ext>
                  </a:extLst>
                </p:cNvPr>
                <p:cNvSpPr/>
                <p:nvPr/>
              </p:nvSpPr>
              <p:spPr>
                <a:xfrm flipV="1">
                  <a:off x="6251461" y="2422815"/>
                  <a:ext cx="1591582" cy="3031986"/>
                </a:xfrm>
                <a:custGeom>
                  <a:avLst/>
                  <a:gdLst>
                    <a:gd name="connsiteX0" fmla="*/ 0 w 1591582"/>
                    <a:gd name="connsiteY0" fmla="*/ 3031986 h 3031986"/>
                    <a:gd name="connsiteX1" fmla="*/ 357641 w 1591582"/>
                    <a:gd name="connsiteY1" fmla="*/ 3031986 h 3031986"/>
                    <a:gd name="connsiteX2" fmla="*/ 795791 w 1591582"/>
                    <a:gd name="connsiteY2" fmla="*/ 2593836 h 3031986"/>
                    <a:gd name="connsiteX3" fmla="*/ 1233941 w 1591582"/>
                    <a:gd name="connsiteY3" fmla="*/ 3031986 h 3031986"/>
                    <a:gd name="connsiteX4" fmla="*/ 1591582 w 1591582"/>
                    <a:gd name="connsiteY4" fmla="*/ 3031986 h 3031986"/>
                    <a:gd name="connsiteX5" fmla="*/ 1591582 w 1591582"/>
                    <a:gd name="connsiteY5" fmla="*/ 314242 h 3031986"/>
                    <a:gd name="connsiteX6" fmla="*/ 1277340 w 1591582"/>
                    <a:gd name="connsiteY6" fmla="*/ 0 h 3031986"/>
                    <a:gd name="connsiteX7" fmla="*/ 314242 w 1591582"/>
                    <a:gd name="connsiteY7" fmla="*/ 0 h 3031986"/>
                    <a:gd name="connsiteX8" fmla="*/ 0 w 1591582"/>
                    <a:gd name="connsiteY8" fmla="*/ 314242 h 303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582" h="3031986">
                      <a:moveTo>
                        <a:pt x="0" y="3031986"/>
                      </a:moveTo>
                      <a:lnTo>
                        <a:pt x="357641" y="3031986"/>
                      </a:lnTo>
                      <a:cubicBezTo>
                        <a:pt x="357641" y="2790002"/>
                        <a:pt x="553807" y="2593836"/>
                        <a:pt x="795791" y="2593836"/>
                      </a:cubicBezTo>
                      <a:cubicBezTo>
                        <a:pt x="1037775" y="2593836"/>
                        <a:pt x="1233941" y="2790002"/>
                        <a:pt x="1233941" y="3031986"/>
                      </a:cubicBezTo>
                      <a:lnTo>
                        <a:pt x="1591582" y="3031986"/>
                      </a:lnTo>
                      <a:lnTo>
                        <a:pt x="1591582" y="314242"/>
                      </a:lnTo>
                      <a:cubicBezTo>
                        <a:pt x="1591582" y="140691"/>
                        <a:pt x="1450891" y="0"/>
                        <a:pt x="1277340" y="0"/>
                      </a:cubicBezTo>
                      <a:lnTo>
                        <a:pt x="314242" y="0"/>
                      </a:lnTo>
                      <a:cubicBezTo>
                        <a:pt x="140691" y="0"/>
                        <a:pt x="0" y="140691"/>
                        <a:pt x="0" y="314242"/>
                      </a:cubicBezTo>
                      <a:close/>
                    </a:path>
                  </a:pathLst>
                </a:custGeom>
                <a:solidFill>
                  <a:schemeClr val="bg1">
                    <a:lumMod val="95000"/>
                  </a:schemeClr>
                </a:solidFill>
                <a:ln>
                  <a:noFill/>
                </a:ln>
                <a:effectLst>
                  <a:outerShdw blurRad="127000" sx="107000" sy="107000" algn="ct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3" name="MEASUREMENT">
                  <a:extLst>
                    <a:ext uri="{FF2B5EF4-FFF2-40B4-BE49-F238E27FC236}">
                      <a16:creationId xmlns:a16="http://schemas.microsoft.com/office/drawing/2014/main" id="{66E13F7C-A683-4ED8-8EE9-397B011587D6}"/>
                    </a:ext>
                  </a:extLst>
                </p:cNvPr>
                <p:cNvGrpSpPr/>
                <p:nvPr/>
              </p:nvGrpSpPr>
              <p:grpSpPr>
                <a:xfrm>
                  <a:off x="6251461" y="3117007"/>
                  <a:ext cx="1591582" cy="1048049"/>
                  <a:chOff x="6488272" y="3837442"/>
                  <a:chExt cx="1591582" cy="1048049"/>
                </a:xfrm>
              </p:grpSpPr>
              <p:sp>
                <p:nvSpPr>
                  <p:cNvPr id="45" name="TextBox 49">
                    <a:extLst>
                      <a:ext uri="{FF2B5EF4-FFF2-40B4-BE49-F238E27FC236}">
                        <a16:creationId xmlns:a16="http://schemas.microsoft.com/office/drawing/2014/main" id="{29BC230D-8535-47F7-9733-309269CC5C3D}"/>
                      </a:ext>
                    </a:extLst>
                  </p:cNvPr>
                  <p:cNvSpPr txBox="1"/>
                  <p:nvPr/>
                </p:nvSpPr>
                <p:spPr>
                  <a:xfrm>
                    <a:off x="6488272" y="3837442"/>
                    <a:ext cx="1591582" cy="338554"/>
                  </a:xfrm>
                  <a:prstGeom prst="rect">
                    <a:avLst/>
                  </a:prstGeom>
                  <a:noFill/>
                </p:spPr>
                <p:txBody>
                  <a:bodyPr wrap="square" rtlCol="0">
                    <a:spAutoFit/>
                  </a:bodyPr>
                  <a:lstStyle/>
                  <a:p>
                    <a:pPr algn="ctr"/>
                    <a:r>
                      <a:rPr lang="en-US" sz="1600" b="1" dirty="0">
                        <a:solidFill>
                          <a:srgbClr val="F72349"/>
                        </a:solidFill>
                        <a:latin typeface="Tw Cen MT" panose="020B0602020104020603" pitchFamily="34" charset="0"/>
                      </a:rPr>
                      <a:t>MEASUREMENT</a:t>
                    </a:r>
                    <a:endParaRPr lang="en-US" sz="1700" b="1" dirty="0">
                      <a:solidFill>
                        <a:srgbClr val="F72349"/>
                      </a:solidFill>
                      <a:latin typeface="Tw Cen MT" panose="020B0602020104020603" pitchFamily="34" charset="0"/>
                    </a:endParaRPr>
                  </a:p>
                </p:txBody>
              </p:sp>
              <p:sp>
                <p:nvSpPr>
                  <p:cNvPr id="46" name="TextBox 50">
                    <a:extLst>
                      <a:ext uri="{FF2B5EF4-FFF2-40B4-BE49-F238E27FC236}">
                        <a16:creationId xmlns:a16="http://schemas.microsoft.com/office/drawing/2014/main" id="{76121DEA-5EB5-409D-BFDC-6711ADEE4656}"/>
                      </a:ext>
                    </a:extLst>
                  </p:cNvPr>
                  <p:cNvSpPr txBox="1"/>
                  <p:nvPr/>
                </p:nvSpPr>
                <p:spPr>
                  <a:xfrm>
                    <a:off x="6488272" y="4146827"/>
                    <a:ext cx="1591582" cy="738664"/>
                  </a:xfrm>
                  <a:prstGeom prst="rect">
                    <a:avLst/>
                  </a:prstGeom>
                  <a:noFill/>
                </p:spPr>
                <p:txBody>
                  <a:bodyPr wrap="square" rtlCol="0">
                    <a:spAutoFit/>
                  </a:bodyPr>
                  <a:lstStyle/>
                  <a:p>
                    <a:pPr algn="ctr"/>
                    <a:r>
                      <a:rPr lang="en-US" sz="1400" b="1" dirty="0">
                        <a:solidFill>
                          <a:srgbClr val="A6A6A6"/>
                        </a:solidFill>
                        <a:latin typeface="Tw Cen MT" panose="020B0602020104020603" pitchFamily="34" charset="0"/>
                      </a:rPr>
                      <a:t>Continuous </a:t>
                    </a:r>
                    <a:r>
                      <a:rPr lang="en-US" sz="1400" b="1" dirty="0" err="1">
                        <a:solidFill>
                          <a:srgbClr val="A6A6A6"/>
                        </a:solidFill>
                        <a:latin typeface="Tw Cen MT" panose="020B0602020104020603" pitchFamily="34" charset="0"/>
                      </a:rPr>
                      <a:t>Impr</a:t>
                    </a:r>
                    <a:r>
                      <a:rPr lang="en-US" sz="1400" b="1" dirty="0">
                        <a:solidFill>
                          <a:srgbClr val="A6A6A6"/>
                        </a:solidFill>
                        <a:latin typeface="Tw Cen MT" panose="020B0602020104020603" pitchFamily="34" charset="0"/>
                      </a:rPr>
                      <a:t>.</a:t>
                    </a:r>
                  </a:p>
                  <a:p>
                    <a:pPr algn="ctr"/>
                    <a:r>
                      <a:rPr lang="en-US" sz="1400" b="1" dirty="0">
                        <a:solidFill>
                          <a:srgbClr val="A6A6A6"/>
                        </a:solidFill>
                        <a:latin typeface="Tw Cen MT" panose="020B0602020104020603" pitchFamily="34" charset="0"/>
                      </a:rPr>
                      <a:t>KPIs</a:t>
                    </a:r>
                  </a:p>
                  <a:p>
                    <a:pPr algn="ctr"/>
                    <a:r>
                      <a:rPr lang="en-US" sz="1400" b="1" dirty="0">
                        <a:solidFill>
                          <a:srgbClr val="A6A6A6"/>
                        </a:solidFill>
                        <a:latin typeface="Tw Cen MT" panose="020B0602020104020603" pitchFamily="34" charset="0"/>
                      </a:rPr>
                      <a:t>Quick wins</a:t>
                    </a:r>
                  </a:p>
                </p:txBody>
              </p:sp>
            </p:grpSp>
            <p:pic>
              <p:nvPicPr>
                <p:cNvPr id="44" name="M bulb" descr="Règle">
                  <a:extLst>
                    <a:ext uri="{FF2B5EF4-FFF2-40B4-BE49-F238E27FC236}">
                      <a16:creationId xmlns:a16="http://schemas.microsoft.com/office/drawing/2014/main" id="{E09ECC42-4E1B-46B0-ABCD-E8E624618E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90051" y="4228342"/>
                  <a:ext cx="914400" cy="914400"/>
                </a:xfrm>
                <a:prstGeom prst="rect">
                  <a:avLst/>
                </a:prstGeom>
              </p:spPr>
            </p:pic>
          </p:grpSp>
        </p:grpSp>
        <p:grpSp>
          <p:nvGrpSpPr>
            <p:cNvPr id="7" name="Groupe 6">
              <a:extLst>
                <a:ext uri="{FF2B5EF4-FFF2-40B4-BE49-F238E27FC236}">
                  <a16:creationId xmlns:a16="http://schemas.microsoft.com/office/drawing/2014/main" id="{5311F710-E1AC-42C6-BDD0-A6C899F30134}"/>
                </a:ext>
              </a:extLst>
            </p:cNvPr>
            <p:cNvGrpSpPr/>
            <p:nvPr/>
          </p:nvGrpSpPr>
          <p:grpSpPr>
            <a:xfrm>
              <a:off x="513073" y="1462248"/>
              <a:ext cx="3789949" cy="3992553"/>
              <a:chOff x="2218349" y="1462248"/>
              <a:chExt cx="3789949" cy="3992553"/>
            </a:xfrm>
          </p:grpSpPr>
          <p:grpSp>
            <p:nvGrpSpPr>
              <p:cNvPr id="19" name="Groupe 18">
                <a:extLst>
                  <a:ext uri="{FF2B5EF4-FFF2-40B4-BE49-F238E27FC236}">
                    <a16:creationId xmlns:a16="http://schemas.microsoft.com/office/drawing/2014/main" id="{021FD188-C220-4CC9-ACBD-FDE8B9735C09}"/>
                  </a:ext>
                </a:extLst>
              </p:cNvPr>
              <p:cNvGrpSpPr/>
              <p:nvPr/>
            </p:nvGrpSpPr>
            <p:grpSpPr>
              <a:xfrm>
                <a:off x="4202857" y="1462248"/>
                <a:ext cx="1805441" cy="3992553"/>
                <a:chOff x="4202857" y="1462248"/>
                <a:chExt cx="1805441" cy="3992553"/>
              </a:xfrm>
            </p:grpSpPr>
            <p:grpSp>
              <p:nvGrpSpPr>
                <p:cNvPr id="30" name="A fold">
                  <a:extLst>
                    <a:ext uri="{FF2B5EF4-FFF2-40B4-BE49-F238E27FC236}">
                      <a16:creationId xmlns:a16="http://schemas.microsoft.com/office/drawing/2014/main" id="{15E959C2-FC32-4AF0-B837-8AF252BC3615}"/>
                    </a:ext>
                  </a:extLst>
                </p:cNvPr>
                <p:cNvGrpSpPr/>
                <p:nvPr/>
              </p:nvGrpSpPr>
              <p:grpSpPr>
                <a:xfrm>
                  <a:off x="4202857" y="1462248"/>
                  <a:ext cx="1805441" cy="1894017"/>
                  <a:chOff x="3884465" y="2182683"/>
                  <a:chExt cx="1805441" cy="1894017"/>
                </a:xfrm>
              </p:grpSpPr>
              <p:sp>
                <p:nvSpPr>
                  <p:cNvPr id="36" name="Rectangle: Top Corners Rounded 14">
                    <a:extLst>
                      <a:ext uri="{FF2B5EF4-FFF2-40B4-BE49-F238E27FC236}">
                        <a16:creationId xmlns:a16="http://schemas.microsoft.com/office/drawing/2014/main" id="{7D1E224F-9CB3-4A01-82B5-DEF8FE1F87AF}"/>
                      </a:ext>
                    </a:extLst>
                  </p:cNvPr>
                  <p:cNvSpPr/>
                  <p:nvPr/>
                </p:nvSpPr>
                <p:spPr>
                  <a:xfrm>
                    <a:off x="3991395" y="2209800"/>
                    <a:ext cx="1591582" cy="1866900"/>
                  </a:xfrm>
                  <a:prstGeom prst="round2SameRect">
                    <a:avLst>
                      <a:gd name="adj1" fmla="val 12063"/>
                      <a:gd name="adj2" fmla="val 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17">
                    <a:extLst>
                      <a:ext uri="{FF2B5EF4-FFF2-40B4-BE49-F238E27FC236}">
                        <a16:creationId xmlns:a16="http://schemas.microsoft.com/office/drawing/2014/main" id="{EC03706E-7FD3-461F-B6B0-1F6F1F341678}"/>
                      </a:ext>
                    </a:extLst>
                  </p:cNvPr>
                  <p:cNvSpPr txBox="1"/>
                  <p:nvPr/>
                </p:nvSpPr>
                <p:spPr>
                  <a:xfrm>
                    <a:off x="3884465" y="2182683"/>
                    <a:ext cx="1805441" cy="646331"/>
                  </a:xfrm>
                  <a:prstGeom prst="rect">
                    <a:avLst/>
                  </a:prstGeom>
                  <a:noFill/>
                </p:spPr>
                <p:txBody>
                  <a:bodyPr wrap="square" rtlCol="0">
                    <a:spAutoFit/>
                  </a:bodyPr>
                  <a:lstStyle/>
                  <a:p>
                    <a:pPr algn="ctr"/>
                    <a:r>
                      <a:rPr lang="en-US" sz="3600" b="1" dirty="0">
                        <a:solidFill>
                          <a:srgbClr val="E6E7E9"/>
                        </a:solidFill>
                        <a:latin typeface="Tw Cen MT" panose="020B0602020104020603" pitchFamily="34" charset="0"/>
                      </a:rPr>
                      <a:t>VALUE</a:t>
                    </a:r>
                  </a:p>
                </p:txBody>
              </p:sp>
              <p:sp>
                <p:nvSpPr>
                  <p:cNvPr id="38" name="TextBox 27">
                    <a:extLst>
                      <a:ext uri="{FF2B5EF4-FFF2-40B4-BE49-F238E27FC236}">
                        <a16:creationId xmlns:a16="http://schemas.microsoft.com/office/drawing/2014/main" id="{BAFC5E86-6AF4-4CFF-AF70-0DD77143C07F}"/>
                      </a:ext>
                    </a:extLst>
                  </p:cNvPr>
                  <p:cNvSpPr txBox="1"/>
                  <p:nvPr/>
                </p:nvSpPr>
                <p:spPr>
                  <a:xfrm>
                    <a:off x="4339969" y="2563851"/>
                    <a:ext cx="894432" cy="1015663"/>
                  </a:xfrm>
                  <a:prstGeom prst="rect">
                    <a:avLst/>
                  </a:prstGeom>
                  <a:noFill/>
                </p:spPr>
                <p:txBody>
                  <a:bodyPr wrap="square" rtlCol="0">
                    <a:spAutoFit/>
                  </a:bodyPr>
                  <a:lstStyle/>
                  <a:p>
                    <a:pPr algn="ctr"/>
                    <a:r>
                      <a:rPr lang="en-US" sz="6000" b="1" dirty="0">
                        <a:solidFill>
                          <a:srgbClr val="E6E7E9"/>
                        </a:solidFill>
                        <a:latin typeface="Tw Cen MT" panose="020B0602020104020603" pitchFamily="34" charset="0"/>
                      </a:rPr>
                      <a:t>A</a:t>
                    </a:r>
                  </a:p>
                </p:txBody>
              </p:sp>
            </p:grpSp>
            <p:sp>
              <p:nvSpPr>
                <p:cNvPr id="31" name="A slider">
                  <a:extLst>
                    <a:ext uri="{FF2B5EF4-FFF2-40B4-BE49-F238E27FC236}">
                      <a16:creationId xmlns:a16="http://schemas.microsoft.com/office/drawing/2014/main" id="{BE79E109-B7A1-4540-BC53-DF587E943ACB}"/>
                    </a:ext>
                  </a:extLst>
                </p:cNvPr>
                <p:cNvSpPr/>
                <p:nvPr/>
              </p:nvSpPr>
              <p:spPr>
                <a:xfrm flipV="1">
                  <a:off x="4309787" y="2422815"/>
                  <a:ext cx="1591582" cy="3031986"/>
                </a:xfrm>
                <a:custGeom>
                  <a:avLst/>
                  <a:gdLst>
                    <a:gd name="connsiteX0" fmla="*/ 0 w 1591582"/>
                    <a:gd name="connsiteY0" fmla="*/ 3031986 h 3031986"/>
                    <a:gd name="connsiteX1" fmla="*/ 357641 w 1591582"/>
                    <a:gd name="connsiteY1" fmla="*/ 3031986 h 3031986"/>
                    <a:gd name="connsiteX2" fmla="*/ 795791 w 1591582"/>
                    <a:gd name="connsiteY2" fmla="*/ 2593836 h 3031986"/>
                    <a:gd name="connsiteX3" fmla="*/ 1233941 w 1591582"/>
                    <a:gd name="connsiteY3" fmla="*/ 3031986 h 3031986"/>
                    <a:gd name="connsiteX4" fmla="*/ 1591582 w 1591582"/>
                    <a:gd name="connsiteY4" fmla="*/ 3031986 h 3031986"/>
                    <a:gd name="connsiteX5" fmla="*/ 1591582 w 1591582"/>
                    <a:gd name="connsiteY5" fmla="*/ 314242 h 3031986"/>
                    <a:gd name="connsiteX6" fmla="*/ 1277340 w 1591582"/>
                    <a:gd name="connsiteY6" fmla="*/ 0 h 3031986"/>
                    <a:gd name="connsiteX7" fmla="*/ 314242 w 1591582"/>
                    <a:gd name="connsiteY7" fmla="*/ 0 h 3031986"/>
                    <a:gd name="connsiteX8" fmla="*/ 0 w 1591582"/>
                    <a:gd name="connsiteY8" fmla="*/ 314242 h 303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582" h="3031986">
                      <a:moveTo>
                        <a:pt x="0" y="3031986"/>
                      </a:moveTo>
                      <a:lnTo>
                        <a:pt x="357641" y="3031986"/>
                      </a:lnTo>
                      <a:cubicBezTo>
                        <a:pt x="357641" y="2790002"/>
                        <a:pt x="553807" y="2593836"/>
                        <a:pt x="795791" y="2593836"/>
                      </a:cubicBezTo>
                      <a:cubicBezTo>
                        <a:pt x="1037775" y="2593836"/>
                        <a:pt x="1233941" y="2790002"/>
                        <a:pt x="1233941" y="3031986"/>
                      </a:cubicBezTo>
                      <a:lnTo>
                        <a:pt x="1591582" y="3031986"/>
                      </a:lnTo>
                      <a:lnTo>
                        <a:pt x="1591582" y="314242"/>
                      </a:lnTo>
                      <a:cubicBezTo>
                        <a:pt x="1591582" y="140691"/>
                        <a:pt x="1450891" y="0"/>
                        <a:pt x="1277340" y="0"/>
                      </a:cubicBezTo>
                      <a:lnTo>
                        <a:pt x="314242" y="0"/>
                      </a:lnTo>
                      <a:cubicBezTo>
                        <a:pt x="140691" y="0"/>
                        <a:pt x="0" y="140691"/>
                        <a:pt x="0" y="314242"/>
                      </a:cubicBezTo>
                      <a:close/>
                    </a:path>
                  </a:pathLst>
                </a:custGeom>
                <a:solidFill>
                  <a:schemeClr val="bg1">
                    <a:lumMod val="95000"/>
                  </a:schemeClr>
                </a:solidFill>
                <a:ln>
                  <a:noFill/>
                </a:ln>
                <a:effectLst>
                  <a:outerShdw blurRad="127000" sx="107000" sy="107000" algn="ct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AUTOMATION">
                  <a:extLst>
                    <a:ext uri="{FF2B5EF4-FFF2-40B4-BE49-F238E27FC236}">
                      <a16:creationId xmlns:a16="http://schemas.microsoft.com/office/drawing/2014/main" id="{0F0BC394-4E76-427F-BBD5-0BB7D9D41F8F}"/>
                    </a:ext>
                  </a:extLst>
                </p:cNvPr>
                <p:cNvGrpSpPr/>
                <p:nvPr/>
              </p:nvGrpSpPr>
              <p:grpSpPr>
                <a:xfrm>
                  <a:off x="4296066" y="3117007"/>
                  <a:ext cx="1591582" cy="1048049"/>
                  <a:chOff x="3977674" y="3837442"/>
                  <a:chExt cx="1591582" cy="1048049"/>
                </a:xfrm>
              </p:grpSpPr>
              <p:sp>
                <p:nvSpPr>
                  <p:cNvPr id="34" name="TextBox 47">
                    <a:extLst>
                      <a:ext uri="{FF2B5EF4-FFF2-40B4-BE49-F238E27FC236}">
                        <a16:creationId xmlns:a16="http://schemas.microsoft.com/office/drawing/2014/main" id="{DFD0F74F-DD47-49DA-B54E-C55DA511CD98}"/>
                      </a:ext>
                    </a:extLst>
                  </p:cNvPr>
                  <p:cNvSpPr txBox="1"/>
                  <p:nvPr/>
                </p:nvSpPr>
                <p:spPr>
                  <a:xfrm>
                    <a:off x="3977674" y="3837442"/>
                    <a:ext cx="1591582" cy="338554"/>
                  </a:xfrm>
                  <a:prstGeom prst="rect">
                    <a:avLst/>
                  </a:prstGeom>
                  <a:noFill/>
                </p:spPr>
                <p:txBody>
                  <a:bodyPr wrap="square" rtlCol="0">
                    <a:spAutoFit/>
                  </a:bodyPr>
                  <a:lstStyle/>
                  <a:p>
                    <a:pPr algn="ctr"/>
                    <a:r>
                      <a:rPr lang="en-US" sz="1600" b="1" dirty="0">
                        <a:solidFill>
                          <a:srgbClr val="00B0F0"/>
                        </a:solidFill>
                        <a:latin typeface="Tw Cen MT" panose="020B0602020104020603" pitchFamily="34" charset="0"/>
                      </a:rPr>
                      <a:t>AUTOMATION</a:t>
                    </a:r>
                    <a:endParaRPr lang="en-US" sz="1700" b="1" dirty="0">
                      <a:solidFill>
                        <a:srgbClr val="00B0F0"/>
                      </a:solidFill>
                      <a:latin typeface="Tw Cen MT" panose="020B0602020104020603" pitchFamily="34" charset="0"/>
                    </a:endParaRPr>
                  </a:p>
                </p:txBody>
              </p:sp>
              <p:sp>
                <p:nvSpPr>
                  <p:cNvPr id="35" name="TextBox 48">
                    <a:extLst>
                      <a:ext uri="{FF2B5EF4-FFF2-40B4-BE49-F238E27FC236}">
                        <a16:creationId xmlns:a16="http://schemas.microsoft.com/office/drawing/2014/main" id="{BC49CDAD-5AF4-4D58-8E59-EDF4386EB553}"/>
                      </a:ext>
                    </a:extLst>
                  </p:cNvPr>
                  <p:cNvSpPr txBox="1"/>
                  <p:nvPr/>
                </p:nvSpPr>
                <p:spPr>
                  <a:xfrm>
                    <a:off x="3977674" y="4146827"/>
                    <a:ext cx="1591582" cy="738664"/>
                  </a:xfrm>
                  <a:prstGeom prst="rect">
                    <a:avLst/>
                  </a:prstGeom>
                  <a:noFill/>
                </p:spPr>
                <p:txBody>
                  <a:bodyPr wrap="square" rtlCol="0">
                    <a:spAutoFit/>
                  </a:bodyPr>
                  <a:lstStyle/>
                  <a:p>
                    <a:pPr algn="ctr"/>
                    <a:r>
                      <a:rPr lang="en-US" sz="1400" b="1" dirty="0">
                        <a:solidFill>
                          <a:srgbClr val="A6A6A6"/>
                        </a:solidFill>
                        <a:latin typeface="Tw Cen MT" panose="020B0602020104020603" pitchFamily="34" charset="0"/>
                      </a:rPr>
                      <a:t>Tools</a:t>
                    </a:r>
                  </a:p>
                  <a:p>
                    <a:pPr algn="ctr"/>
                    <a:r>
                      <a:rPr lang="en-US" sz="1400" b="1" dirty="0">
                        <a:solidFill>
                          <a:srgbClr val="A6A6A6"/>
                        </a:solidFill>
                        <a:latin typeface="Tw Cen MT" panose="020B0602020104020603" pitchFamily="34" charset="0"/>
                      </a:rPr>
                      <a:t>Productivity gains</a:t>
                    </a:r>
                  </a:p>
                  <a:p>
                    <a:pPr algn="ctr"/>
                    <a:r>
                      <a:rPr lang="en-US" sz="1400" b="1" dirty="0" err="1">
                        <a:solidFill>
                          <a:srgbClr val="A6A6A6"/>
                        </a:solidFill>
                        <a:latin typeface="Tw Cen MT" panose="020B0602020104020603" pitchFamily="34" charset="0"/>
                      </a:rPr>
                      <a:t>Reproductibility</a:t>
                    </a:r>
                    <a:endParaRPr lang="en-US" sz="1400" b="1" dirty="0">
                      <a:solidFill>
                        <a:srgbClr val="A6A6A6"/>
                      </a:solidFill>
                      <a:latin typeface="Tw Cen MT" panose="020B0602020104020603" pitchFamily="34" charset="0"/>
                    </a:endParaRPr>
                  </a:p>
                </p:txBody>
              </p:sp>
            </p:grpSp>
            <p:pic>
              <p:nvPicPr>
                <p:cNvPr id="33" name="A bulb" descr="Engrenages">
                  <a:extLst>
                    <a:ext uri="{FF2B5EF4-FFF2-40B4-BE49-F238E27FC236}">
                      <a16:creationId xmlns:a16="http://schemas.microsoft.com/office/drawing/2014/main" id="{BDAE6E2D-BFB0-4396-8AE2-6B783D3D978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32362" y="4228342"/>
                  <a:ext cx="914400" cy="914400"/>
                </a:xfrm>
                <a:prstGeom prst="rect">
                  <a:avLst/>
                </a:prstGeom>
              </p:spPr>
            </p:pic>
          </p:grpSp>
          <p:grpSp>
            <p:nvGrpSpPr>
              <p:cNvPr id="20" name="Groupe 19">
                <a:extLst>
                  <a:ext uri="{FF2B5EF4-FFF2-40B4-BE49-F238E27FC236}">
                    <a16:creationId xmlns:a16="http://schemas.microsoft.com/office/drawing/2014/main" id="{549D5051-2DD5-450F-9D85-968335CB8296}"/>
                  </a:ext>
                </a:extLst>
              </p:cNvPr>
              <p:cNvGrpSpPr/>
              <p:nvPr/>
            </p:nvGrpSpPr>
            <p:grpSpPr>
              <a:xfrm>
                <a:off x="2218349" y="1462248"/>
                <a:ext cx="1805441" cy="3992553"/>
                <a:chOff x="2218349" y="1462248"/>
                <a:chExt cx="1805441" cy="3992553"/>
              </a:xfrm>
            </p:grpSpPr>
            <p:grpSp>
              <p:nvGrpSpPr>
                <p:cNvPr id="21" name="C fold">
                  <a:extLst>
                    <a:ext uri="{FF2B5EF4-FFF2-40B4-BE49-F238E27FC236}">
                      <a16:creationId xmlns:a16="http://schemas.microsoft.com/office/drawing/2014/main" id="{D5EDBB8A-CF70-493A-B26C-CEF181F4F63E}"/>
                    </a:ext>
                  </a:extLst>
                </p:cNvPr>
                <p:cNvGrpSpPr/>
                <p:nvPr/>
              </p:nvGrpSpPr>
              <p:grpSpPr>
                <a:xfrm>
                  <a:off x="2218349" y="1462248"/>
                  <a:ext cx="1805441" cy="1894017"/>
                  <a:chOff x="1387588" y="2182683"/>
                  <a:chExt cx="1805441" cy="1894017"/>
                </a:xfrm>
              </p:grpSpPr>
              <p:sp>
                <p:nvSpPr>
                  <p:cNvPr id="27" name="Rectangle: Top Corners Rounded 11">
                    <a:extLst>
                      <a:ext uri="{FF2B5EF4-FFF2-40B4-BE49-F238E27FC236}">
                        <a16:creationId xmlns:a16="http://schemas.microsoft.com/office/drawing/2014/main" id="{A0DBEB17-5D3B-4E9F-8D90-DE23FF05F84E}"/>
                      </a:ext>
                    </a:extLst>
                  </p:cNvPr>
                  <p:cNvSpPr/>
                  <p:nvPr/>
                </p:nvSpPr>
                <p:spPr>
                  <a:xfrm>
                    <a:off x="1494518" y="2209800"/>
                    <a:ext cx="1591582" cy="1866900"/>
                  </a:xfrm>
                  <a:prstGeom prst="round2SameRect">
                    <a:avLst>
                      <a:gd name="adj1" fmla="val 12063"/>
                      <a:gd name="adj2"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13">
                    <a:extLst>
                      <a:ext uri="{FF2B5EF4-FFF2-40B4-BE49-F238E27FC236}">
                        <a16:creationId xmlns:a16="http://schemas.microsoft.com/office/drawing/2014/main" id="{D50C1B02-75B8-4E4E-86FF-09326996B0FE}"/>
                      </a:ext>
                    </a:extLst>
                  </p:cNvPr>
                  <p:cNvSpPr txBox="1"/>
                  <p:nvPr/>
                </p:nvSpPr>
                <p:spPr>
                  <a:xfrm>
                    <a:off x="1387588" y="2182683"/>
                    <a:ext cx="1805441" cy="646331"/>
                  </a:xfrm>
                  <a:prstGeom prst="rect">
                    <a:avLst/>
                  </a:prstGeom>
                  <a:noFill/>
                </p:spPr>
                <p:txBody>
                  <a:bodyPr wrap="square" rtlCol="0">
                    <a:spAutoFit/>
                  </a:bodyPr>
                  <a:lstStyle/>
                  <a:p>
                    <a:pPr algn="ctr"/>
                    <a:r>
                      <a:rPr lang="en-US" sz="3600" b="1" dirty="0">
                        <a:solidFill>
                          <a:srgbClr val="E6E7E9"/>
                        </a:solidFill>
                        <a:latin typeface="Tw Cen MT" panose="020B0602020104020603" pitchFamily="34" charset="0"/>
                      </a:rPr>
                      <a:t>VALUE</a:t>
                    </a:r>
                  </a:p>
                </p:txBody>
              </p:sp>
              <p:sp>
                <p:nvSpPr>
                  <p:cNvPr id="29" name="TextBox 28">
                    <a:extLst>
                      <a:ext uri="{FF2B5EF4-FFF2-40B4-BE49-F238E27FC236}">
                        <a16:creationId xmlns:a16="http://schemas.microsoft.com/office/drawing/2014/main" id="{086B6FF8-8866-4F77-80D1-C9901D792EB8}"/>
                      </a:ext>
                    </a:extLst>
                  </p:cNvPr>
                  <p:cNvSpPr txBox="1"/>
                  <p:nvPr/>
                </p:nvSpPr>
                <p:spPr>
                  <a:xfrm>
                    <a:off x="1808855" y="2563851"/>
                    <a:ext cx="894432" cy="1015663"/>
                  </a:xfrm>
                  <a:prstGeom prst="rect">
                    <a:avLst/>
                  </a:prstGeom>
                  <a:noFill/>
                </p:spPr>
                <p:txBody>
                  <a:bodyPr wrap="square" rtlCol="0">
                    <a:spAutoFit/>
                  </a:bodyPr>
                  <a:lstStyle/>
                  <a:p>
                    <a:pPr algn="ctr"/>
                    <a:r>
                      <a:rPr lang="en-US" sz="6000" b="1" dirty="0">
                        <a:solidFill>
                          <a:srgbClr val="E6E7E9"/>
                        </a:solidFill>
                        <a:latin typeface="Tw Cen MT" panose="020B0602020104020603" pitchFamily="34" charset="0"/>
                      </a:rPr>
                      <a:t>C</a:t>
                    </a:r>
                  </a:p>
                </p:txBody>
              </p:sp>
            </p:grpSp>
            <p:sp>
              <p:nvSpPr>
                <p:cNvPr id="22" name="C slider">
                  <a:extLst>
                    <a:ext uri="{FF2B5EF4-FFF2-40B4-BE49-F238E27FC236}">
                      <a16:creationId xmlns:a16="http://schemas.microsoft.com/office/drawing/2014/main" id="{70438475-BC5E-486F-B4A1-73D443EFA058}"/>
                    </a:ext>
                  </a:extLst>
                </p:cNvPr>
                <p:cNvSpPr/>
                <p:nvPr/>
              </p:nvSpPr>
              <p:spPr>
                <a:xfrm flipV="1">
                  <a:off x="2325279" y="2422815"/>
                  <a:ext cx="1591582" cy="3031986"/>
                </a:xfrm>
                <a:custGeom>
                  <a:avLst/>
                  <a:gdLst>
                    <a:gd name="connsiteX0" fmla="*/ 0 w 1591582"/>
                    <a:gd name="connsiteY0" fmla="*/ 3031986 h 3031986"/>
                    <a:gd name="connsiteX1" fmla="*/ 357641 w 1591582"/>
                    <a:gd name="connsiteY1" fmla="*/ 3031986 h 3031986"/>
                    <a:gd name="connsiteX2" fmla="*/ 795791 w 1591582"/>
                    <a:gd name="connsiteY2" fmla="*/ 2593836 h 3031986"/>
                    <a:gd name="connsiteX3" fmla="*/ 1233941 w 1591582"/>
                    <a:gd name="connsiteY3" fmla="*/ 3031986 h 3031986"/>
                    <a:gd name="connsiteX4" fmla="*/ 1591582 w 1591582"/>
                    <a:gd name="connsiteY4" fmla="*/ 3031986 h 3031986"/>
                    <a:gd name="connsiteX5" fmla="*/ 1591582 w 1591582"/>
                    <a:gd name="connsiteY5" fmla="*/ 314242 h 3031986"/>
                    <a:gd name="connsiteX6" fmla="*/ 1277340 w 1591582"/>
                    <a:gd name="connsiteY6" fmla="*/ 0 h 3031986"/>
                    <a:gd name="connsiteX7" fmla="*/ 314242 w 1591582"/>
                    <a:gd name="connsiteY7" fmla="*/ 0 h 3031986"/>
                    <a:gd name="connsiteX8" fmla="*/ 0 w 1591582"/>
                    <a:gd name="connsiteY8" fmla="*/ 314242 h 303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582" h="3031986">
                      <a:moveTo>
                        <a:pt x="0" y="3031986"/>
                      </a:moveTo>
                      <a:lnTo>
                        <a:pt x="357641" y="3031986"/>
                      </a:lnTo>
                      <a:cubicBezTo>
                        <a:pt x="357641" y="2790002"/>
                        <a:pt x="553807" y="2593836"/>
                        <a:pt x="795791" y="2593836"/>
                      </a:cubicBezTo>
                      <a:cubicBezTo>
                        <a:pt x="1037775" y="2593836"/>
                        <a:pt x="1233941" y="2790002"/>
                        <a:pt x="1233941" y="3031986"/>
                      </a:cubicBezTo>
                      <a:lnTo>
                        <a:pt x="1591582" y="3031986"/>
                      </a:lnTo>
                      <a:lnTo>
                        <a:pt x="1591582" y="314242"/>
                      </a:lnTo>
                      <a:cubicBezTo>
                        <a:pt x="1591582" y="140691"/>
                        <a:pt x="1450891" y="0"/>
                        <a:pt x="1277340" y="0"/>
                      </a:cubicBezTo>
                      <a:lnTo>
                        <a:pt x="314242" y="0"/>
                      </a:lnTo>
                      <a:cubicBezTo>
                        <a:pt x="140691" y="0"/>
                        <a:pt x="0" y="140691"/>
                        <a:pt x="0" y="314242"/>
                      </a:cubicBezTo>
                      <a:close/>
                    </a:path>
                  </a:pathLst>
                </a:custGeom>
                <a:solidFill>
                  <a:schemeClr val="bg1">
                    <a:lumMod val="95000"/>
                  </a:schemeClr>
                </a:solidFill>
                <a:ln>
                  <a:noFill/>
                </a:ln>
                <a:effectLst>
                  <a:outerShdw blurRad="127000" sx="107000" sy="107000" algn="ct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CULTURE">
                  <a:extLst>
                    <a:ext uri="{FF2B5EF4-FFF2-40B4-BE49-F238E27FC236}">
                      <a16:creationId xmlns:a16="http://schemas.microsoft.com/office/drawing/2014/main" id="{9FA048F1-BECE-4624-AE34-C789B2411EFB}"/>
                    </a:ext>
                  </a:extLst>
                </p:cNvPr>
                <p:cNvGrpSpPr/>
                <p:nvPr/>
              </p:nvGrpSpPr>
              <p:grpSpPr>
                <a:xfrm>
                  <a:off x="2319610" y="3117007"/>
                  <a:ext cx="1591582" cy="1048049"/>
                  <a:chOff x="1488849" y="3837442"/>
                  <a:chExt cx="1591582" cy="1048049"/>
                </a:xfrm>
              </p:grpSpPr>
              <p:sp>
                <p:nvSpPr>
                  <p:cNvPr id="25" name="TextBox 45">
                    <a:extLst>
                      <a:ext uri="{FF2B5EF4-FFF2-40B4-BE49-F238E27FC236}">
                        <a16:creationId xmlns:a16="http://schemas.microsoft.com/office/drawing/2014/main" id="{1B64D3CF-8098-4023-9E87-2AE74B31BD79}"/>
                      </a:ext>
                    </a:extLst>
                  </p:cNvPr>
                  <p:cNvSpPr txBox="1"/>
                  <p:nvPr/>
                </p:nvSpPr>
                <p:spPr>
                  <a:xfrm>
                    <a:off x="1488849" y="3837442"/>
                    <a:ext cx="1591582" cy="338554"/>
                  </a:xfrm>
                  <a:prstGeom prst="rect">
                    <a:avLst/>
                  </a:prstGeom>
                  <a:noFill/>
                </p:spPr>
                <p:txBody>
                  <a:bodyPr wrap="square" rtlCol="0">
                    <a:spAutoFit/>
                  </a:bodyPr>
                  <a:lstStyle/>
                  <a:p>
                    <a:pPr algn="ctr"/>
                    <a:r>
                      <a:rPr lang="en-US" sz="1600" b="1" dirty="0">
                        <a:solidFill>
                          <a:srgbClr val="0070C0"/>
                        </a:solidFill>
                        <a:latin typeface="Tw Cen MT" panose="020B0602020104020603" pitchFamily="34" charset="0"/>
                      </a:rPr>
                      <a:t>CULTURE</a:t>
                    </a:r>
                    <a:endParaRPr lang="en-US" sz="1700" b="1" dirty="0">
                      <a:solidFill>
                        <a:srgbClr val="0070C0"/>
                      </a:solidFill>
                      <a:latin typeface="Tw Cen MT" panose="020B0602020104020603" pitchFamily="34" charset="0"/>
                    </a:endParaRPr>
                  </a:p>
                </p:txBody>
              </p:sp>
              <p:sp>
                <p:nvSpPr>
                  <p:cNvPr id="26" name="TextBox 46">
                    <a:extLst>
                      <a:ext uri="{FF2B5EF4-FFF2-40B4-BE49-F238E27FC236}">
                        <a16:creationId xmlns:a16="http://schemas.microsoft.com/office/drawing/2014/main" id="{4010314B-1038-41C3-AAF2-333AC163B1E5}"/>
                      </a:ext>
                    </a:extLst>
                  </p:cNvPr>
                  <p:cNvSpPr txBox="1"/>
                  <p:nvPr/>
                </p:nvSpPr>
                <p:spPr>
                  <a:xfrm>
                    <a:off x="1488849" y="4146827"/>
                    <a:ext cx="1591582" cy="738664"/>
                  </a:xfrm>
                  <a:prstGeom prst="rect">
                    <a:avLst/>
                  </a:prstGeom>
                  <a:noFill/>
                </p:spPr>
                <p:txBody>
                  <a:bodyPr wrap="square" rtlCol="0">
                    <a:spAutoFit/>
                  </a:bodyPr>
                  <a:lstStyle/>
                  <a:p>
                    <a:pPr algn="ctr"/>
                    <a:r>
                      <a:rPr lang="en-US" sz="1400" b="1" dirty="0">
                        <a:solidFill>
                          <a:srgbClr val="A6A6A6"/>
                        </a:solidFill>
                        <a:latin typeface="Tw Cen MT" panose="020B0602020104020603" pitchFamily="34" charset="0"/>
                      </a:rPr>
                      <a:t>Communication</a:t>
                    </a:r>
                  </a:p>
                  <a:p>
                    <a:pPr algn="ctr"/>
                    <a:r>
                      <a:rPr lang="en-US" sz="1400" b="1" dirty="0">
                        <a:solidFill>
                          <a:srgbClr val="A6A6A6"/>
                        </a:solidFill>
                        <a:latin typeface="Tw Cen MT" panose="020B0602020104020603" pitchFamily="34" charset="0"/>
                      </a:rPr>
                      <a:t>Break silos</a:t>
                    </a:r>
                  </a:p>
                  <a:p>
                    <a:pPr algn="ctr"/>
                    <a:r>
                      <a:rPr lang="en-US" sz="1400" b="1" dirty="0">
                        <a:solidFill>
                          <a:srgbClr val="A6A6A6"/>
                        </a:solidFill>
                        <a:latin typeface="Tw Cen MT" panose="020B0602020104020603" pitchFamily="34" charset="0"/>
                      </a:rPr>
                      <a:t>E2E</a:t>
                    </a:r>
                  </a:p>
                </p:txBody>
              </p:sp>
            </p:grpSp>
            <p:pic>
              <p:nvPicPr>
                <p:cNvPr id="24" name="C bulb" descr="Équipe">
                  <a:extLst>
                    <a:ext uri="{FF2B5EF4-FFF2-40B4-BE49-F238E27FC236}">
                      <a16:creationId xmlns:a16="http://schemas.microsoft.com/office/drawing/2014/main" id="{3C166F9F-C9F5-4ABC-B22C-C5F5ECA2CEC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653885" y="4228342"/>
                  <a:ext cx="914400" cy="914400"/>
                </a:xfrm>
                <a:prstGeom prst="rect">
                  <a:avLst/>
                </a:prstGeom>
              </p:spPr>
            </p:pic>
          </p:grpSp>
        </p:grpSp>
        <p:grpSp>
          <p:nvGrpSpPr>
            <p:cNvPr id="8" name="Groupe 7">
              <a:extLst>
                <a:ext uri="{FF2B5EF4-FFF2-40B4-BE49-F238E27FC236}">
                  <a16:creationId xmlns:a16="http://schemas.microsoft.com/office/drawing/2014/main" id="{8A34D445-0D80-486F-83FD-B053468ED220}"/>
                </a:ext>
              </a:extLst>
            </p:cNvPr>
            <p:cNvGrpSpPr/>
            <p:nvPr/>
          </p:nvGrpSpPr>
          <p:grpSpPr>
            <a:xfrm>
              <a:off x="4334254" y="1462248"/>
              <a:ext cx="1805441" cy="4068917"/>
              <a:chOff x="4370380" y="1385884"/>
              <a:chExt cx="1805441" cy="4068917"/>
            </a:xfrm>
          </p:grpSpPr>
          <p:grpSp>
            <p:nvGrpSpPr>
              <p:cNvPr id="9" name="Groupe 8">
                <a:extLst>
                  <a:ext uri="{FF2B5EF4-FFF2-40B4-BE49-F238E27FC236}">
                    <a16:creationId xmlns:a16="http://schemas.microsoft.com/office/drawing/2014/main" id="{D9250541-0057-4D8A-A9C3-B62F66BD54E0}"/>
                  </a:ext>
                </a:extLst>
              </p:cNvPr>
              <p:cNvGrpSpPr/>
              <p:nvPr/>
            </p:nvGrpSpPr>
            <p:grpSpPr>
              <a:xfrm>
                <a:off x="4370380" y="1385884"/>
                <a:ext cx="1805441" cy="4068917"/>
                <a:chOff x="4441184" y="1406033"/>
                <a:chExt cx="1805441" cy="4068917"/>
              </a:xfrm>
            </p:grpSpPr>
            <p:grpSp>
              <p:nvGrpSpPr>
                <p:cNvPr id="13" name="L fold">
                  <a:extLst>
                    <a:ext uri="{FF2B5EF4-FFF2-40B4-BE49-F238E27FC236}">
                      <a16:creationId xmlns:a16="http://schemas.microsoft.com/office/drawing/2014/main" id="{40F088B5-49F6-47F9-B071-838A68CE62D2}"/>
                    </a:ext>
                  </a:extLst>
                </p:cNvPr>
                <p:cNvGrpSpPr/>
                <p:nvPr/>
              </p:nvGrpSpPr>
              <p:grpSpPr>
                <a:xfrm>
                  <a:off x="4441184" y="1406033"/>
                  <a:ext cx="1805441" cy="1894017"/>
                  <a:chOff x="3884465" y="2182683"/>
                  <a:chExt cx="1805441" cy="1894017"/>
                </a:xfrm>
              </p:grpSpPr>
              <p:sp>
                <p:nvSpPr>
                  <p:cNvPr id="16" name="Rectangle: Top Corners Rounded 14">
                    <a:extLst>
                      <a:ext uri="{FF2B5EF4-FFF2-40B4-BE49-F238E27FC236}">
                        <a16:creationId xmlns:a16="http://schemas.microsoft.com/office/drawing/2014/main" id="{4262EF21-CD0D-476F-89A5-96B85311B809}"/>
                      </a:ext>
                    </a:extLst>
                  </p:cNvPr>
                  <p:cNvSpPr/>
                  <p:nvPr/>
                </p:nvSpPr>
                <p:spPr>
                  <a:xfrm>
                    <a:off x="3991395" y="2209800"/>
                    <a:ext cx="1591582" cy="1866900"/>
                  </a:xfrm>
                  <a:prstGeom prst="round2SameRect">
                    <a:avLst>
                      <a:gd name="adj1" fmla="val 12063"/>
                      <a:gd name="adj2" fmla="val 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7">
                    <a:extLst>
                      <a:ext uri="{FF2B5EF4-FFF2-40B4-BE49-F238E27FC236}">
                        <a16:creationId xmlns:a16="http://schemas.microsoft.com/office/drawing/2014/main" id="{368E9D85-2351-42BF-B814-C4AA38B921F0}"/>
                      </a:ext>
                    </a:extLst>
                  </p:cNvPr>
                  <p:cNvSpPr txBox="1"/>
                  <p:nvPr/>
                </p:nvSpPr>
                <p:spPr>
                  <a:xfrm>
                    <a:off x="3884465" y="2182683"/>
                    <a:ext cx="1805441" cy="646331"/>
                  </a:xfrm>
                  <a:prstGeom prst="rect">
                    <a:avLst/>
                  </a:prstGeom>
                  <a:noFill/>
                </p:spPr>
                <p:txBody>
                  <a:bodyPr wrap="square" rtlCol="0">
                    <a:spAutoFit/>
                  </a:bodyPr>
                  <a:lstStyle/>
                  <a:p>
                    <a:pPr algn="ctr"/>
                    <a:r>
                      <a:rPr lang="en-US" sz="3600" b="1" dirty="0">
                        <a:solidFill>
                          <a:schemeClr val="bg1"/>
                        </a:solidFill>
                        <a:latin typeface="Tw Cen MT" panose="020B0602020104020603" pitchFamily="34" charset="0"/>
                      </a:rPr>
                      <a:t>VALUE</a:t>
                    </a:r>
                  </a:p>
                </p:txBody>
              </p:sp>
              <p:sp>
                <p:nvSpPr>
                  <p:cNvPr id="18" name="TextBox 27">
                    <a:extLst>
                      <a:ext uri="{FF2B5EF4-FFF2-40B4-BE49-F238E27FC236}">
                        <a16:creationId xmlns:a16="http://schemas.microsoft.com/office/drawing/2014/main" id="{6F5DE990-8E0B-4615-83C5-45C8673C4C43}"/>
                      </a:ext>
                    </a:extLst>
                  </p:cNvPr>
                  <p:cNvSpPr txBox="1"/>
                  <p:nvPr/>
                </p:nvSpPr>
                <p:spPr>
                  <a:xfrm>
                    <a:off x="4339969" y="2563851"/>
                    <a:ext cx="894432" cy="1015663"/>
                  </a:xfrm>
                  <a:prstGeom prst="rect">
                    <a:avLst/>
                  </a:prstGeom>
                  <a:noFill/>
                </p:spPr>
                <p:txBody>
                  <a:bodyPr wrap="square" rtlCol="0">
                    <a:spAutoFit/>
                  </a:bodyPr>
                  <a:lstStyle/>
                  <a:p>
                    <a:pPr algn="ctr"/>
                    <a:r>
                      <a:rPr lang="en-US" sz="6000" b="1" dirty="0">
                        <a:solidFill>
                          <a:schemeClr val="bg1"/>
                        </a:solidFill>
                        <a:latin typeface="Tw Cen MT" panose="020B0602020104020603" pitchFamily="34" charset="0"/>
                      </a:rPr>
                      <a:t>L</a:t>
                    </a:r>
                  </a:p>
                </p:txBody>
              </p:sp>
            </p:grpSp>
            <p:sp>
              <p:nvSpPr>
                <p:cNvPr id="14" name="L slider">
                  <a:extLst>
                    <a:ext uri="{FF2B5EF4-FFF2-40B4-BE49-F238E27FC236}">
                      <a16:creationId xmlns:a16="http://schemas.microsoft.com/office/drawing/2014/main" id="{2B8C60D5-DC27-4125-9936-E21F7791684E}"/>
                    </a:ext>
                  </a:extLst>
                </p:cNvPr>
                <p:cNvSpPr/>
                <p:nvPr/>
              </p:nvSpPr>
              <p:spPr>
                <a:xfrm flipV="1">
                  <a:off x="4556609" y="2442964"/>
                  <a:ext cx="1591582" cy="3031986"/>
                </a:xfrm>
                <a:custGeom>
                  <a:avLst/>
                  <a:gdLst>
                    <a:gd name="connsiteX0" fmla="*/ 0 w 1591582"/>
                    <a:gd name="connsiteY0" fmla="*/ 3031986 h 3031986"/>
                    <a:gd name="connsiteX1" fmla="*/ 357641 w 1591582"/>
                    <a:gd name="connsiteY1" fmla="*/ 3031986 h 3031986"/>
                    <a:gd name="connsiteX2" fmla="*/ 795791 w 1591582"/>
                    <a:gd name="connsiteY2" fmla="*/ 2593836 h 3031986"/>
                    <a:gd name="connsiteX3" fmla="*/ 1233941 w 1591582"/>
                    <a:gd name="connsiteY3" fmla="*/ 3031986 h 3031986"/>
                    <a:gd name="connsiteX4" fmla="*/ 1591582 w 1591582"/>
                    <a:gd name="connsiteY4" fmla="*/ 3031986 h 3031986"/>
                    <a:gd name="connsiteX5" fmla="*/ 1591582 w 1591582"/>
                    <a:gd name="connsiteY5" fmla="*/ 314242 h 3031986"/>
                    <a:gd name="connsiteX6" fmla="*/ 1277340 w 1591582"/>
                    <a:gd name="connsiteY6" fmla="*/ 0 h 3031986"/>
                    <a:gd name="connsiteX7" fmla="*/ 314242 w 1591582"/>
                    <a:gd name="connsiteY7" fmla="*/ 0 h 3031986"/>
                    <a:gd name="connsiteX8" fmla="*/ 0 w 1591582"/>
                    <a:gd name="connsiteY8" fmla="*/ 314242 h 303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1582" h="3031986">
                      <a:moveTo>
                        <a:pt x="0" y="3031986"/>
                      </a:moveTo>
                      <a:lnTo>
                        <a:pt x="357641" y="3031986"/>
                      </a:lnTo>
                      <a:cubicBezTo>
                        <a:pt x="357641" y="2790002"/>
                        <a:pt x="553807" y="2593836"/>
                        <a:pt x="795791" y="2593836"/>
                      </a:cubicBezTo>
                      <a:cubicBezTo>
                        <a:pt x="1037775" y="2593836"/>
                        <a:pt x="1233941" y="2790002"/>
                        <a:pt x="1233941" y="3031986"/>
                      </a:cubicBezTo>
                      <a:lnTo>
                        <a:pt x="1591582" y="3031986"/>
                      </a:lnTo>
                      <a:lnTo>
                        <a:pt x="1591582" y="314242"/>
                      </a:lnTo>
                      <a:cubicBezTo>
                        <a:pt x="1591582" y="140691"/>
                        <a:pt x="1450891" y="0"/>
                        <a:pt x="1277340" y="0"/>
                      </a:cubicBezTo>
                      <a:lnTo>
                        <a:pt x="314242" y="0"/>
                      </a:lnTo>
                      <a:cubicBezTo>
                        <a:pt x="140691" y="0"/>
                        <a:pt x="0" y="140691"/>
                        <a:pt x="0" y="314242"/>
                      </a:cubicBezTo>
                      <a:close/>
                    </a:path>
                  </a:pathLst>
                </a:custGeom>
                <a:solidFill>
                  <a:schemeClr val="bg1">
                    <a:lumMod val="95000"/>
                  </a:schemeClr>
                </a:solidFill>
                <a:ln>
                  <a:noFill/>
                </a:ln>
                <a:effectLst>
                  <a:outerShdw blurRad="127000" sx="107000" sy="107000" algn="ct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L bulb" descr="Ampoule">
                  <a:extLst>
                    <a:ext uri="{FF2B5EF4-FFF2-40B4-BE49-F238E27FC236}">
                      <a16:creationId xmlns:a16="http://schemas.microsoft.com/office/drawing/2014/main" id="{8438DDAA-DBD8-467C-9F4C-846BEC662F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79448" y="4165056"/>
                  <a:ext cx="914400" cy="914400"/>
                </a:xfrm>
                <a:prstGeom prst="rect">
                  <a:avLst/>
                </a:prstGeom>
              </p:spPr>
            </p:pic>
          </p:grpSp>
          <p:grpSp>
            <p:nvGrpSpPr>
              <p:cNvPr id="10" name="LEAN">
                <a:extLst>
                  <a:ext uri="{FF2B5EF4-FFF2-40B4-BE49-F238E27FC236}">
                    <a16:creationId xmlns:a16="http://schemas.microsoft.com/office/drawing/2014/main" id="{CB6B6A00-BDA0-491B-A49A-60608A73516F}"/>
                  </a:ext>
                </a:extLst>
              </p:cNvPr>
              <p:cNvGrpSpPr/>
              <p:nvPr/>
            </p:nvGrpSpPr>
            <p:grpSpPr>
              <a:xfrm>
                <a:off x="4565835" y="3030528"/>
                <a:ext cx="1591582" cy="1048049"/>
                <a:chOff x="3977674" y="3837442"/>
                <a:chExt cx="1591582" cy="1048049"/>
              </a:xfrm>
            </p:grpSpPr>
            <p:sp>
              <p:nvSpPr>
                <p:cNvPr id="11" name="TextBox 47">
                  <a:extLst>
                    <a:ext uri="{FF2B5EF4-FFF2-40B4-BE49-F238E27FC236}">
                      <a16:creationId xmlns:a16="http://schemas.microsoft.com/office/drawing/2014/main" id="{6B75EFC0-FE5B-44AA-8788-DE0BF8F0E388}"/>
                    </a:ext>
                  </a:extLst>
                </p:cNvPr>
                <p:cNvSpPr txBox="1"/>
                <p:nvPr/>
              </p:nvSpPr>
              <p:spPr>
                <a:xfrm>
                  <a:off x="3977674" y="3837442"/>
                  <a:ext cx="1591582" cy="338554"/>
                </a:xfrm>
                <a:prstGeom prst="rect">
                  <a:avLst/>
                </a:prstGeom>
                <a:noFill/>
              </p:spPr>
              <p:txBody>
                <a:bodyPr wrap="square" rtlCol="0">
                  <a:spAutoFit/>
                </a:bodyPr>
                <a:lstStyle/>
                <a:p>
                  <a:pPr algn="ctr"/>
                  <a:r>
                    <a:rPr lang="en-US" sz="1600" b="1" dirty="0">
                      <a:solidFill>
                        <a:srgbClr val="002060"/>
                      </a:solidFill>
                      <a:latin typeface="Tw Cen MT" panose="020B0602020104020603" pitchFamily="34" charset="0"/>
                    </a:rPr>
                    <a:t>LEAN</a:t>
                  </a:r>
                  <a:endParaRPr lang="en-US" b="1" dirty="0">
                    <a:solidFill>
                      <a:srgbClr val="002060"/>
                    </a:solidFill>
                    <a:latin typeface="Tw Cen MT" panose="020B0602020104020603" pitchFamily="34" charset="0"/>
                  </a:endParaRPr>
                </a:p>
              </p:txBody>
            </p:sp>
            <p:sp>
              <p:nvSpPr>
                <p:cNvPr id="12" name="TextBox 48">
                  <a:extLst>
                    <a:ext uri="{FF2B5EF4-FFF2-40B4-BE49-F238E27FC236}">
                      <a16:creationId xmlns:a16="http://schemas.microsoft.com/office/drawing/2014/main" id="{48366057-CA84-4ADC-8B1A-A7069C7BEAD4}"/>
                    </a:ext>
                  </a:extLst>
                </p:cNvPr>
                <p:cNvSpPr txBox="1"/>
                <p:nvPr/>
              </p:nvSpPr>
              <p:spPr>
                <a:xfrm>
                  <a:off x="3977674" y="4146827"/>
                  <a:ext cx="1591582" cy="738664"/>
                </a:xfrm>
                <a:prstGeom prst="rect">
                  <a:avLst/>
                </a:prstGeom>
                <a:noFill/>
              </p:spPr>
              <p:txBody>
                <a:bodyPr wrap="square" rtlCol="0">
                  <a:spAutoFit/>
                </a:bodyPr>
                <a:lstStyle/>
                <a:p>
                  <a:pPr algn="ctr"/>
                  <a:r>
                    <a:rPr lang="en-US" sz="1400" b="1" dirty="0" err="1">
                      <a:solidFill>
                        <a:srgbClr val="A6A6A6"/>
                      </a:solidFill>
                      <a:latin typeface="Tw Cen MT" panose="020B0602020104020603" pitchFamily="34" charset="0"/>
                    </a:rPr>
                    <a:t>muda</a:t>
                  </a:r>
                  <a:r>
                    <a:rPr lang="en-US" sz="1400" b="1" dirty="0">
                      <a:solidFill>
                        <a:srgbClr val="A6A6A6"/>
                      </a:solidFill>
                      <a:latin typeface="Tw Cen MT" panose="020B0602020104020603" pitchFamily="34" charset="0"/>
                    </a:rPr>
                    <a:t>/</a:t>
                  </a:r>
                  <a:r>
                    <a:rPr lang="en-US" sz="1400" b="1" dirty="0" err="1">
                      <a:solidFill>
                        <a:srgbClr val="A6A6A6"/>
                      </a:solidFill>
                      <a:latin typeface="Tw Cen MT" panose="020B0602020104020603" pitchFamily="34" charset="0"/>
                    </a:rPr>
                    <a:t>mura</a:t>
                  </a:r>
                  <a:r>
                    <a:rPr lang="en-US" sz="1400" b="1" dirty="0">
                      <a:solidFill>
                        <a:srgbClr val="A6A6A6"/>
                      </a:solidFill>
                      <a:latin typeface="Tw Cen MT" panose="020B0602020104020603" pitchFamily="34" charset="0"/>
                    </a:rPr>
                    <a:t>/muri</a:t>
                  </a:r>
                </a:p>
                <a:p>
                  <a:pPr algn="ctr"/>
                  <a:r>
                    <a:rPr lang="en-US" sz="1400" b="1" dirty="0">
                      <a:solidFill>
                        <a:srgbClr val="A6A6A6"/>
                      </a:solidFill>
                      <a:latin typeface="Tw Cen MT" panose="020B0602020104020603" pitchFamily="34" charset="0"/>
                    </a:rPr>
                    <a:t>Uniformity</a:t>
                  </a:r>
                </a:p>
                <a:p>
                  <a:pPr algn="ctr"/>
                  <a:r>
                    <a:rPr lang="en-US" sz="1400" b="1" dirty="0">
                      <a:solidFill>
                        <a:srgbClr val="A6A6A6"/>
                      </a:solidFill>
                      <a:latin typeface="Tw Cen MT" panose="020B0602020104020603" pitchFamily="34" charset="0"/>
                    </a:rPr>
                    <a:t>Decision making</a:t>
                  </a:r>
                </a:p>
              </p:txBody>
            </p:sp>
          </p:grpSp>
        </p:grpSp>
      </p:grpSp>
    </p:spTree>
    <p:extLst>
      <p:ext uri="{BB962C8B-B14F-4D97-AF65-F5344CB8AC3E}">
        <p14:creationId xmlns:p14="http://schemas.microsoft.com/office/powerpoint/2010/main" val="29768049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2351584" y="455629"/>
            <a:ext cx="5400600" cy="916260"/>
          </a:xfrm>
        </p:spPr>
        <p:txBody>
          <a:bodyPr/>
          <a:lstStyle/>
          <a:p>
            <a:r>
              <a:rPr lang="fr-FR" dirty="0"/>
              <a:t>Qu’est-ce que le DevOps ?</a:t>
            </a:r>
            <a:endParaRPr lang="en-GB" dirty="0"/>
          </a:p>
        </p:txBody>
      </p:sp>
      <p:pic>
        <p:nvPicPr>
          <p:cNvPr id="7" name="Image 6">
            <a:extLst>
              <a:ext uri="{FF2B5EF4-FFF2-40B4-BE49-F238E27FC236}">
                <a16:creationId xmlns:a16="http://schemas.microsoft.com/office/drawing/2014/main" id="{C68EBC37-226B-44B2-ABA3-54CF6F92840F}"/>
              </a:ext>
            </a:extLst>
          </p:cNvPr>
          <p:cNvPicPr>
            <a:picLocks noChangeAspect="1"/>
          </p:cNvPicPr>
          <p:nvPr/>
        </p:nvPicPr>
        <p:blipFill>
          <a:blip r:embed="rId2"/>
          <a:stretch>
            <a:fillRect/>
          </a:stretch>
        </p:blipFill>
        <p:spPr>
          <a:xfrm>
            <a:off x="-240704" y="-171400"/>
            <a:ext cx="2078916" cy="1963082"/>
          </a:xfrm>
          <a:prstGeom prst="rect">
            <a:avLst/>
          </a:prstGeom>
        </p:spPr>
      </p:pic>
      <p:pic>
        <p:nvPicPr>
          <p:cNvPr id="6" name="Image 5">
            <a:extLst>
              <a:ext uri="{FF2B5EF4-FFF2-40B4-BE49-F238E27FC236}">
                <a16:creationId xmlns:a16="http://schemas.microsoft.com/office/drawing/2014/main" id="{1D80111D-5523-4323-B3AE-84E5A1FDBB69}"/>
              </a:ext>
            </a:extLst>
          </p:cNvPr>
          <p:cNvPicPr>
            <a:picLocks noChangeAspect="1"/>
          </p:cNvPicPr>
          <p:nvPr/>
        </p:nvPicPr>
        <p:blipFill>
          <a:blip r:embed="rId3">
            <a:duotone>
              <a:schemeClr val="accent2">
                <a:shade val="45000"/>
                <a:satMod val="135000"/>
              </a:schemeClr>
              <a:prstClr val="white"/>
            </a:duotone>
          </a:blip>
          <a:stretch>
            <a:fillRect/>
          </a:stretch>
        </p:blipFill>
        <p:spPr>
          <a:xfrm>
            <a:off x="199026" y="259322"/>
            <a:ext cx="1199456" cy="1145425"/>
          </a:xfrm>
          <a:prstGeom prst="rect">
            <a:avLst/>
          </a:prstGeom>
        </p:spPr>
      </p:pic>
      <p:sp>
        <p:nvSpPr>
          <p:cNvPr id="8" name="Rectangle 7">
            <a:extLst>
              <a:ext uri="{FF2B5EF4-FFF2-40B4-BE49-F238E27FC236}">
                <a16:creationId xmlns:a16="http://schemas.microsoft.com/office/drawing/2014/main" id="{EA3489C4-81A5-4344-B164-AA7B88439F8C}"/>
              </a:ext>
            </a:extLst>
          </p:cNvPr>
          <p:cNvSpPr/>
          <p:nvPr/>
        </p:nvSpPr>
        <p:spPr>
          <a:xfrm>
            <a:off x="3048000" y="2828836"/>
            <a:ext cx="6096000" cy="1200329"/>
          </a:xfrm>
          <a:prstGeom prst="rect">
            <a:avLst/>
          </a:prstGeom>
        </p:spPr>
        <p:txBody>
          <a:bodyPr>
            <a:spAutoFit/>
          </a:bodyPr>
          <a:lstStyle/>
          <a:p>
            <a:r>
              <a:rPr lang="en-US" dirty="0"/>
              <a:t>The best approach to define DevOps is to resemble</a:t>
            </a:r>
          </a:p>
          <a:p>
            <a:r>
              <a:rPr lang="en-US" dirty="0"/>
              <a:t>DevOps in iterative agile software development and</a:t>
            </a:r>
          </a:p>
          <a:p>
            <a:r>
              <a:rPr lang="en-US" dirty="0"/>
              <a:t>process improvement frameworks</a:t>
            </a:r>
            <a:endParaRPr lang="fr-FR"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  Lecture seule" id="{ADDFBEF2-F5E1-4254-8AD9-CE824812A996}" vid="{0B4C7949-3404-4145-B624-113463369F02}"/>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  Lecture seule" id="{ADDFBEF2-F5E1-4254-8AD9-CE824812A996}" vid="{BA104155-ADB2-4E39-A884-7A4E5428E5DA}"/>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  Lecture seule" id="{ADDFBEF2-F5E1-4254-8AD9-CE824812A996}" vid="{63741457-876B-4CAB-A053-BE724DCD7927}"/>
    </a:ext>
  </a:extLst>
</a:theme>
</file>

<file path=ppt/theme/theme4.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81FE2EE4-55EF-4CFA-86A2-C2460F4324DA}"/>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7517E32157FBA43AE158C5F458BB706" ma:contentTypeVersion="12" ma:contentTypeDescription="Create a new document." ma:contentTypeScope="" ma:versionID="095da95474e0de9328f31c82d110a91d">
  <xsd:schema xmlns:xsd="http://www.w3.org/2001/XMLSchema" xmlns:xs="http://www.w3.org/2001/XMLSchema" xmlns:p="http://schemas.microsoft.com/office/2006/metadata/properties" xmlns:ns3="10ee5180-a0d1-4ff5-899a-e531644060e5" xmlns:ns4="ae755ee0-e9ee-4410-9049-159a1cc7830c" targetNamespace="http://schemas.microsoft.com/office/2006/metadata/properties" ma:root="true" ma:fieldsID="9277ea29cf828ce4c7f1799a0708b3d4" ns3:_="" ns4:_="">
    <xsd:import namespace="10ee5180-a0d1-4ff5-899a-e531644060e5"/>
    <xsd:import namespace="ae755ee0-e9ee-4410-9049-159a1cc7830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ee5180-a0d1-4ff5-899a-e531644060e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e755ee0-e9ee-4410-9049-159a1cc7830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BD4BBC4-44EF-467C-859F-F0AA5FE0E5B9}">
  <ds:schemaRefs>
    <ds:schemaRef ds:uri="http://schemas.microsoft.com/sharepoint/v3/contenttype/forms"/>
  </ds:schemaRefs>
</ds:datastoreItem>
</file>

<file path=customXml/itemProps2.xml><?xml version="1.0" encoding="utf-8"?>
<ds:datastoreItem xmlns:ds="http://schemas.openxmlformats.org/officeDocument/2006/customXml" ds:itemID="{A086CC34-3E24-44A9-9103-DAA9A80364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0ee5180-a0d1-4ff5-899a-e531644060e5"/>
    <ds:schemaRef ds:uri="ae755ee0-e9ee-4410-9049-159a1cc7830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3CFE718-DA56-407D-A18A-A78CB155AE66}">
  <ds:schemaRefs>
    <ds:schemaRef ds:uri="http://purl.org/dc/terms/"/>
    <ds:schemaRef ds:uri="http://schemas.microsoft.com/office/2006/documentManagement/types"/>
    <ds:schemaRef ds:uri="10ee5180-a0d1-4ff5-899a-e531644060e5"/>
    <ds:schemaRef ds:uri="ae755ee0-e9ee-4410-9049-159a1cc7830c"/>
    <ds:schemaRef ds:uri="http://purl.org/dc/elements/1.1/"/>
    <ds:schemaRef ds:uri="http://schemas.openxmlformats.org/package/2006/metadata/core-properties"/>
    <ds:schemaRef ds:uri="http://schemas.microsoft.com/office/infopath/2007/PartnerControl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vops</Template>
  <TotalTime>2941</TotalTime>
  <Words>936</Words>
  <Application>Microsoft Office PowerPoint</Application>
  <PresentationFormat>Grand écran</PresentationFormat>
  <Paragraphs>216</Paragraphs>
  <Slides>15</Slides>
  <Notes>5</Notes>
  <HiddenSlides>9</HiddenSlides>
  <MMClips>0</MMClips>
  <ScaleCrop>false</ScaleCrop>
  <HeadingPairs>
    <vt:vector size="8" baseType="variant">
      <vt:variant>
        <vt:lpstr>Polices utilisées</vt:lpstr>
      </vt:variant>
      <vt:variant>
        <vt:i4>8</vt:i4>
      </vt:variant>
      <vt:variant>
        <vt:lpstr>Thème</vt:lpstr>
      </vt:variant>
      <vt:variant>
        <vt:i4>4</vt:i4>
      </vt:variant>
      <vt:variant>
        <vt:lpstr>Serveurs OLE incorporés</vt:lpstr>
      </vt:variant>
      <vt:variant>
        <vt:i4>1</vt:i4>
      </vt:variant>
      <vt:variant>
        <vt:lpstr>Titres des diapositives</vt:lpstr>
      </vt:variant>
      <vt:variant>
        <vt:i4>15</vt:i4>
      </vt:variant>
    </vt:vector>
  </HeadingPairs>
  <TitlesOfParts>
    <vt:vector size="28" baseType="lpstr">
      <vt:lpstr>Arial</vt:lpstr>
      <vt:lpstr>Arial Narrow</vt:lpstr>
      <vt:lpstr>Arial Nova</vt:lpstr>
      <vt:lpstr>Bahnschrift Condensed</vt:lpstr>
      <vt:lpstr>Poppins</vt:lpstr>
      <vt:lpstr>Tw Cen MT</vt:lpstr>
      <vt:lpstr>Verdana</vt:lpstr>
      <vt:lpstr>Wingdings</vt:lpstr>
      <vt:lpstr>Capgemini Master</vt:lpstr>
      <vt:lpstr>Cover options</vt:lpstr>
      <vt:lpstr>Final slides</vt:lpstr>
      <vt:lpstr>Section break</vt:lpstr>
      <vt:lpstr>think-cell Slide</vt:lpstr>
      <vt:lpstr>Project Devops Joint d’étanchéité</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Qu’est-ce que le DevOps ?</vt:lpstr>
      <vt:lpstr>Qu’est-ce que le DevOps ?</vt:lpstr>
      <vt:lpstr>Contexte</vt:lpstr>
      <vt:lpstr>Présentation PowerPoint</vt:lpstr>
      <vt:lpstr>Contexte</vt:lpstr>
      <vt:lpstr>Présentation PowerPoint</vt:lpstr>
      <vt:lpstr>Planning de projet à trois moi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SANCHEZ, Ana Belen</dc:creator>
  <cp:lastModifiedBy>SANCHEZ, Ana Belen</cp:lastModifiedBy>
  <cp:revision>1</cp:revision>
  <dcterms:created xsi:type="dcterms:W3CDTF">2020-02-11T07:52:53Z</dcterms:created>
  <dcterms:modified xsi:type="dcterms:W3CDTF">2020-02-14T08:0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7517E32157FBA43AE158C5F458BB706</vt:lpwstr>
  </property>
</Properties>
</file>